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tags/tag19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0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1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61" r:id="rId4"/>
    <p:sldMasterId id="2147483663" r:id="rId5"/>
  </p:sldMasterIdLst>
  <p:notesMasterIdLst>
    <p:notesMasterId r:id="rId36"/>
  </p:notesMasterIdLst>
  <p:sldIdLst>
    <p:sldId id="304" r:id="rId6"/>
    <p:sldId id="343" r:id="rId7"/>
    <p:sldId id="344" r:id="rId8"/>
    <p:sldId id="308" r:id="rId9"/>
    <p:sldId id="346" r:id="rId10"/>
    <p:sldId id="345" r:id="rId11"/>
    <p:sldId id="347" r:id="rId12"/>
    <p:sldId id="348" r:id="rId13"/>
    <p:sldId id="349" r:id="rId14"/>
    <p:sldId id="352" r:id="rId15"/>
    <p:sldId id="353" r:id="rId16"/>
    <p:sldId id="356" r:id="rId17"/>
    <p:sldId id="354" r:id="rId18"/>
    <p:sldId id="355" r:id="rId19"/>
    <p:sldId id="371" r:id="rId20"/>
    <p:sldId id="370" r:id="rId21"/>
    <p:sldId id="367" r:id="rId22"/>
    <p:sldId id="373" r:id="rId23"/>
    <p:sldId id="374" r:id="rId24"/>
    <p:sldId id="389" r:id="rId25"/>
    <p:sldId id="375" r:id="rId26"/>
    <p:sldId id="377" r:id="rId27"/>
    <p:sldId id="378" r:id="rId28"/>
    <p:sldId id="381" r:id="rId29"/>
    <p:sldId id="384" r:id="rId30"/>
    <p:sldId id="382" r:id="rId31"/>
    <p:sldId id="383" r:id="rId32"/>
    <p:sldId id="386" r:id="rId33"/>
    <p:sldId id="387" r:id="rId34"/>
    <p:sldId id="303" r:id="rId35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37"/>
      <p:bold r:id="rId38"/>
      <p:italic r:id="rId39"/>
      <p:boldItalic r:id="rId40"/>
    </p:embeddedFont>
    <p:embeddedFont>
      <p:font typeface="Calibri Light" panose="020F0302020204030204" pitchFamily="34" charset="0"/>
      <p:regular r:id="rId41"/>
      <p:italic r:id="rId42"/>
    </p:embeddedFont>
    <p:embeddedFont>
      <p:font typeface="Lato Light" panose="020F0502020204030203" pitchFamily="34" charset="0"/>
      <p:regular r:id="rId43"/>
      <p:bold r:id="rId44"/>
      <p:italic r:id="rId45"/>
      <p:boldItalic r:id="rId46"/>
    </p:embeddedFont>
    <p:embeddedFont>
      <p:font typeface="Roboto Slab Light" panose="020B0604020202020204" charset="0"/>
      <p:regular r:id="rId47"/>
      <p:bold r:id="rId48"/>
    </p:embeddedFont>
  </p:embeddedFontLst>
  <p:custDataLst>
    <p:tags r:id="rId4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Phần Mặc định" id="{E8EB90EA-25E8-4440-9729-BF896DA8EED4}">
          <p14:sldIdLst>
            <p14:sldId id="304"/>
            <p14:sldId id="343"/>
            <p14:sldId id="344"/>
            <p14:sldId id="308"/>
            <p14:sldId id="346"/>
            <p14:sldId id="345"/>
            <p14:sldId id="347"/>
            <p14:sldId id="348"/>
            <p14:sldId id="349"/>
            <p14:sldId id="352"/>
            <p14:sldId id="353"/>
            <p14:sldId id="356"/>
            <p14:sldId id="354"/>
            <p14:sldId id="355"/>
            <p14:sldId id="371"/>
            <p14:sldId id="370"/>
            <p14:sldId id="367"/>
            <p14:sldId id="373"/>
            <p14:sldId id="374"/>
            <p14:sldId id="389"/>
            <p14:sldId id="375"/>
            <p14:sldId id="377"/>
            <p14:sldId id="378"/>
            <p14:sldId id="381"/>
            <p14:sldId id="384"/>
            <p14:sldId id="382"/>
            <p14:sldId id="383"/>
            <p14:sldId id="386"/>
            <p14:sldId id="387"/>
            <p14:sldId id="30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BD3D"/>
    <a:srgbClr val="FFFFFF"/>
    <a:srgbClr val="1DE70D"/>
    <a:srgbClr val="BE8942"/>
    <a:srgbClr val="F65E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5000C72-696B-484E-B574-81EB6FFC3C60}">
  <a:tblStyle styleId="{E5000C72-696B-484E-B574-81EB6FFC3C60}" styleName="Table_0">
    <a:wholeTbl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31" autoAdjust="0"/>
    <p:restoredTop sz="78909" autoAdjust="0"/>
  </p:normalViewPr>
  <p:slideViewPr>
    <p:cSldViewPr snapToGrid="0">
      <p:cViewPr varScale="1">
        <p:scale>
          <a:sx n="75" d="100"/>
          <a:sy n="75" d="100"/>
        </p:scale>
        <p:origin x="1242" y="60"/>
      </p:cViewPr>
      <p:guideLst/>
    </p:cSldViewPr>
  </p:slideViewPr>
  <p:outlineViewPr>
    <p:cViewPr>
      <p:scale>
        <a:sx n="33" d="100"/>
        <a:sy n="33" d="100"/>
      </p:scale>
      <p:origin x="0" y="-55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48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font" Target="fonts/font3.fntdata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font" Target="fonts/font6.fntdata"/><Relationship Id="rId47" Type="http://schemas.openxmlformats.org/officeDocument/2006/relationships/font" Target="fonts/font11.fntdata"/><Relationship Id="rId50" Type="http://schemas.openxmlformats.org/officeDocument/2006/relationships/presProps" Target="pres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font" Target="fonts/font1.fntdata"/><Relationship Id="rId40" Type="http://schemas.openxmlformats.org/officeDocument/2006/relationships/font" Target="fonts/font4.fntdata"/><Relationship Id="rId45" Type="http://schemas.openxmlformats.org/officeDocument/2006/relationships/font" Target="fonts/font9.fntdata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font" Target="fonts/font8.fntdata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font" Target="fonts/font7.fntdata"/><Relationship Id="rId48" Type="http://schemas.openxmlformats.org/officeDocument/2006/relationships/font" Target="fonts/font12.fntdata"/><Relationship Id="rId8" Type="http://schemas.openxmlformats.org/officeDocument/2006/relationships/slide" Target="slides/slide3.xml"/><Relationship Id="rId51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font" Target="fonts/font2.fntdata"/><Relationship Id="rId46" Type="http://schemas.openxmlformats.org/officeDocument/2006/relationships/font" Target="fonts/font10.fntdata"/><Relationship Id="rId20" Type="http://schemas.openxmlformats.org/officeDocument/2006/relationships/slide" Target="slides/slide15.xml"/><Relationship Id="rId41" Type="http://schemas.openxmlformats.org/officeDocument/2006/relationships/font" Target="fonts/font5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notesMaster" Target="notesMasters/notesMaster1.xml"/><Relationship Id="rId4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299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8076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more involved query, you can use N1QL. N1QL provides a familiar SQL-like way to query JSON data. For example, to find a user profile based on that user’s email address, we use the following N1QL query</a:t>
            </a:r>
          </a:p>
          <a:p>
            <a:endParaRPr lang="en-US" sz="11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1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1QL allows you to query JSON with the same flexibility you’d expect from a relational database, including JOINs across documents. To learn more about SQL-like querying with N1QL</a:t>
            </a:r>
          </a:p>
        </p:txBody>
      </p:sp>
    </p:spTree>
    <p:extLst>
      <p:ext uri="{BB962C8B-B14F-4D97-AF65-F5344CB8AC3E}">
        <p14:creationId xmlns:p14="http://schemas.microsoft.com/office/powerpoint/2010/main" val="2966915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18369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ỗi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erver 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ong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luster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ản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ý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ần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ào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ó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Ở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ần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pp,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ì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ẽ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ó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ái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ọi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à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ap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ết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ịa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ỉ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P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ào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ản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ý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ần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ào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ài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ệu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ào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ừ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ó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a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ết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ược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ài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ệu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ằm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ở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âu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...</a:t>
            </a:r>
          </a:p>
          <a:p>
            <a:r>
              <a:rPr lang="en-US" sz="11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em slide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u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ể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ểu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õ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ơn</a:t>
            </a:r>
            <a:endParaRPr lang="en-US" sz="11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35808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10895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81894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Tất</a:t>
            </a:r>
            <a:r>
              <a:rPr lang="en-US" baseline="0" dirty="0"/>
              <a:t> </a:t>
            </a:r>
            <a:r>
              <a:rPr lang="en-US" baseline="0" dirty="0" err="1"/>
              <a:t>cả</a:t>
            </a:r>
            <a:r>
              <a:rPr lang="en-US" baseline="0" dirty="0"/>
              <a:t> </a:t>
            </a:r>
            <a:r>
              <a:rPr lang="en-US" baseline="0" dirty="0" err="1"/>
              <a:t>đều</a:t>
            </a:r>
            <a:r>
              <a:rPr lang="en-US" baseline="0" dirty="0"/>
              <a:t> </a:t>
            </a:r>
            <a:r>
              <a:rPr lang="en-US" baseline="0" dirty="0" err="1"/>
              <a:t>được</a:t>
            </a:r>
            <a:r>
              <a:rPr lang="en-US" baseline="0" dirty="0"/>
              <a:t> </a:t>
            </a:r>
            <a:r>
              <a:rPr lang="en-US" baseline="0" dirty="0" err="1"/>
              <a:t>xây</a:t>
            </a:r>
            <a:r>
              <a:rPr lang="en-US" baseline="0" dirty="0"/>
              <a:t> </a:t>
            </a:r>
            <a:r>
              <a:rPr lang="en-US" baseline="0" dirty="0" err="1"/>
              <a:t>dựng</a:t>
            </a:r>
            <a:r>
              <a:rPr lang="en-US" baseline="0" dirty="0"/>
              <a:t> </a:t>
            </a:r>
            <a:r>
              <a:rPr lang="en-US" baseline="0" dirty="0" err="1"/>
              <a:t>trên</a:t>
            </a:r>
            <a:r>
              <a:rPr lang="en-US" baseline="0" dirty="0"/>
              <a:t> Managed Cache. </a:t>
            </a:r>
            <a:r>
              <a:rPr lang="en-US" baseline="0" dirty="0" err="1"/>
              <a:t>Tìm</a:t>
            </a:r>
            <a:r>
              <a:rPr lang="en-US" baseline="0" dirty="0"/>
              <a:t> </a:t>
            </a:r>
            <a:r>
              <a:rPr lang="en-US" baseline="0" dirty="0" err="1"/>
              <a:t>dữ</a:t>
            </a:r>
            <a:r>
              <a:rPr lang="en-US" baseline="0" dirty="0"/>
              <a:t> </a:t>
            </a:r>
            <a:r>
              <a:rPr lang="en-US" baseline="0" dirty="0" err="1"/>
              <a:t>liệu</a:t>
            </a:r>
            <a:r>
              <a:rPr lang="en-US" baseline="0" dirty="0"/>
              <a:t> </a:t>
            </a:r>
            <a:r>
              <a:rPr lang="en-US" baseline="0" dirty="0" err="1"/>
              <a:t>đầu</a:t>
            </a:r>
            <a:r>
              <a:rPr lang="en-US" baseline="0" dirty="0"/>
              <a:t> </a:t>
            </a:r>
            <a:r>
              <a:rPr lang="en-US" baseline="0" dirty="0" err="1"/>
              <a:t>tiên</a:t>
            </a:r>
            <a:r>
              <a:rPr lang="en-US" baseline="0" dirty="0"/>
              <a:t> </a:t>
            </a:r>
            <a:r>
              <a:rPr lang="en-US" baseline="0" dirty="0" err="1"/>
              <a:t>sẽ</a:t>
            </a:r>
            <a:r>
              <a:rPr lang="en-US" baseline="0" dirty="0"/>
              <a:t> </a:t>
            </a:r>
            <a:r>
              <a:rPr lang="en-US" baseline="0" dirty="0" err="1"/>
              <a:t>vào</a:t>
            </a:r>
            <a:r>
              <a:rPr lang="en-US" baseline="0" dirty="0"/>
              <a:t> managed cache. </a:t>
            </a:r>
            <a:r>
              <a:rPr lang="en-US" baseline="0" dirty="0" err="1"/>
              <a:t>Nếu</a:t>
            </a:r>
            <a:r>
              <a:rPr lang="en-US" baseline="0" dirty="0"/>
              <a:t> </a:t>
            </a:r>
            <a:r>
              <a:rPr lang="en-US" baseline="0" dirty="0" err="1"/>
              <a:t>có</a:t>
            </a:r>
            <a:r>
              <a:rPr lang="en-US" baseline="0" dirty="0"/>
              <a:t> </a:t>
            </a:r>
            <a:r>
              <a:rPr lang="en-US" baseline="0" dirty="0" err="1"/>
              <a:t>sẽ</a:t>
            </a:r>
            <a:r>
              <a:rPr lang="en-US" baseline="0" dirty="0"/>
              <a:t> </a:t>
            </a:r>
            <a:r>
              <a:rPr lang="en-US" baseline="0" dirty="0" err="1"/>
              <a:t>trả</a:t>
            </a:r>
            <a:r>
              <a:rPr lang="en-US" baseline="0" dirty="0"/>
              <a:t> </a:t>
            </a:r>
            <a:r>
              <a:rPr lang="en-US" baseline="0" dirty="0" err="1"/>
              <a:t>về</a:t>
            </a:r>
            <a:r>
              <a:rPr lang="en-US" baseline="0" dirty="0"/>
              <a:t>. </a:t>
            </a:r>
            <a:r>
              <a:rPr lang="en-US" baseline="0" dirty="0" err="1"/>
              <a:t>Còn</a:t>
            </a:r>
            <a:r>
              <a:rPr lang="en-US" baseline="0" dirty="0"/>
              <a:t> </a:t>
            </a:r>
            <a:r>
              <a:rPr lang="en-US" baseline="0" dirty="0" err="1"/>
              <a:t>nếu</a:t>
            </a:r>
            <a:r>
              <a:rPr lang="en-US" baseline="0" dirty="0"/>
              <a:t> </a:t>
            </a:r>
            <a:r>
              <a:rPr lang="en-US" baseline="0" dirty="0" err="1"/>
              <a:t>ko</a:t>
            </a:r>
            <a:r>
              <a:rPr lang="en-US" baseline="0" dirty="0"/>
              <a:t> </a:t>
            </a:r>
            <a:r>
              <a:rPr lang="en-US" baseline="0" dirty="0" err="1"/>
              <a:t>có</a:t>
            </a:r>
            <a:r>
              <a:rPr lang="en-US" baseline="0" dirty="0"/>
              <a:t> </a:t>
            </a:r>
            <a:r>
              <a:rPr lang="en-US" baseline="0" dirty="0" err="1"/>
              <a:t>thì</a:t>
            </a:r>
            <a:r>
              <a:rPr lang="en-US" baseline="0" dirty="0"/>
              <a:t> xem slide </a:t>
            </a:r>
            <a:r>
              <a:rPr lang="en-US" baseline="0" dirty="0" err="1"/>
              <a:t>s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595686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Nếu</a:t>
            </a:r>
            <a:r>
              <a:rPr lang="en-US" baseline="0" dirty="0"/>
              <a:t> </a:t>
            </a:r>
            <a:r>
              <a:rPr lang="en-US" baseline="0" dirty="0" err="1"/>
              <a:t>ko</a:t>
            </a:r>
            <a:r>
              <a:rPr lang="en-US" baseline="0" dirty="0"/>
              <a:t> </a:t>
            </a:r>
            <a:r>
              <a:rPr lang="en-US" baseline="0" dirty="0" err="1"/>
              <a:t>có</a:t>
            </a:r>
            <a:r>
              <a:rPr lang="en-US" baseline="0" dirty="0"/>
              <a:t> </a:t>
            </a:r>
            <a:r>
              <a:rPr lang="en-US" baseline="0" dirty="0" err="1"/>
              <a:t>trên</a:t>
            </a:r>
            <a:r>
              <a:rPr lang="en-US" baseline="0" dirty="0"/>
              <a:t> managed </a:t>
            </a:r>
            <a:r>
              <a:rPr lang="en-US" baseline="0" dirty="0" err="1"/>
              <a:t>sẽ</a:t>
            </a:r>
            <a:r>
              <a:rPr lang="en-US" baseline="0" dirty="0"/>
              <a:t> </a:t>
            </a:r>
            <a:r>
              <a:rPr lang="en-US" baseline="0" dirty="0" err="1"/>
              <a:t>đi</a:t>
            </a:r>
            <a:r>
              <a:rPr lang="en-US" baseline="0" dirty="0"/>
              <a:t> </a:t>
            </a:r>
            <a:r>
              <a:rPr lang="en-US" baseline="0" dirty="0" err="1"/>
              <a:t>vào</a:t>
            </a:r>
            <a:r>
              <a:rPr lang="en-US" baseline="0" dirty="0"/>
              <a:t> disk </a:t>
            </a:r>
            <a:r>
              <a:rPr lang="en-US" baseline="0" dirty="0" err="1"/>
              <a:t>của</a:t>
            </a:r>
            <a:r>
              <a:rPr lang="en-US" baseline="0" dirty="0"/>
              <a:t> server. </a:t>
            </a:r>
            <a:r>
              <a:rPr lang="en-US" baseline="0" dirty="0" err="1"/>
              <a:t>Lấy</a:t>
            </a:r>
            <a:r>
              <a:rPr lang="en-US" baseline="0" dirty="0"/>
              <a:t> </a:t>
            </a:r>
            <a:r>
              <a:rPr lang="en-US" baseline="0" dirty="0" err="1"/>
              <a:t>dữ</a:t>
            </a:r>
            <a:r>
              <a:rPr lang="en-US" baseline="0" dirty="0"/>
              <a:t> </a:t>
            </a:r>
            <a:r>
              <a:rPr lang="en-US" baseline="0" dirty="0" err="1"/>
              <a:t>liệu</a:t>
            </a:r>
            <a:r>
              <a:rPr lang="en-US" baseline="0" dirty="0"/>
              <a:t> </a:t>
            </a:r>
            <a:r>
              <a:rPr lang="en-US" baseline="0" dirty="0" err="1"/>
              <a:t>đưa</a:t>
            </a:r>
            <a:r>
              <a:rPr lang="en-US" baseline="0" dirty="0"/>
              <a:t> </a:t>
            </a:r>
            <a:r>
              <a:rPr lang="en-US" baseline="0" dirty="0" err="1"/>
              <a:t>về</a:t>
            </a:r>
            <a:r>
              <a:rPr lang="en-US" baseline="0" dirty="0"/>
              <a:t> managed cache </a:t>
            </a:r>
            <a:r>
              <a:rPr lang="en-US" baseline="0" dirty="0" err="1"/>
              <a:t>rồi</a:t>
            </a:r>
            <a:r>
              <a:rPr lang="en-US" baseline="0" dirty="0"/>
              <a:t> </a:t>
            </a:r>
            <a:r>
              <a:rPr lang="en-US" baseline="0" dirty="0" err="1"/>
              <a:t>trả</a:t>
            </a:r>
            <a:r>
              <a:rPr lang="en-US" baseline="0" dirty="0"/>
              <a:t> </a:t>
            </a:r>
            <a:r>
              <a:rPr lang="en-US" baseline="0" dirty="0" err="1"/>
              <a:t>về</a:t>
            </a:r>
            <a:r>
              <a:rPr lang="en-US" baseline="0" dirty="0"/>
              <a:t> ap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351026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96667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64255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3590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0341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43380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1726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4882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4900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ược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ới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SDL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an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ệ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uyền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ống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ái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ệm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ề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an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ệ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ong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hững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ệ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ống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ày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ược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ết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ế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ung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anh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ột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ái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ệm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ừ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ượng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ọi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à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ài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ệu</a:t>
            </a:r>
            <a:endParaRPr lang="en-US" sz="11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vi-VN" sz="11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ì là cấu trúc dữ liệu không ràng buộc khác với SQL, các CSDL này không đòi hỏi người dùng tự tạo bảng nhập liệu trước khi nhập dữ liệu vào.</a:t>
            </a:r>
            <a:endParaRPr lang="en-US" sz="11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07126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vi-VN" sz="11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ì là cấu trúc dữ liệu không ràng buộc khác với SQL, các CSDL này không đòi hỏi người dùng tự tạo bảng nhập liệu trước khi nhập dữ liệu vào.</a:t>
            </a:r>
            <a:endParaRPr lang="en-US" sz="11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1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</a:t>
            </a:r>
            <a:r>
              <a:rPr lang="en-US" sz="11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ược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ới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SDL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an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ệ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uyền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ống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ái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ệm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ề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an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ệ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ong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hững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ệ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ống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ày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ược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ết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ế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ung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anh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ột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hái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ệm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ừ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ượng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ọi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à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ài</a:t>
            </a:r>
            <a:r>
              <a:rPr lang="en-US" sz="11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1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ệu</a:t>
            </a:r>
            <a:endParaRPr lang="en-US" sz="11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dirty="0"/>
              <a:t>- </a:t>
            </a:r>
            <a:r>
              <a:rPr lang="en-US" dirty="0" err="1"/>
              <a:t>Có</a:t>
            </a:r>
            <a:r>
              <a:rPr lang="en-US" baseline="0" dirty="0"/>
              <a:t> </a:t>
            </a:r>
            <a:r>
              <a:rPr lang="en-US" baseline="0" dirty="0" err="1"/>
              <a:t>thể</a:t>
            </a:r>
            <a:r>
              <a:rPr lang="en-US" baseline="0" dirty="0"/>
              <a:t> </a:t>
            </a:r>
            <a:r>
              <a:rPr lang="en-US" baseline="0" dirty="0" err="1"/>
              <a:t>nói</a:t>
            </a:r>
            <a:r>
              <a:rPr lang="en-US" baseline="0" dirty="0"/>
              <a:t> </a:t>
            </a:r>
            <a:r>
              <a:rPr lang="en-US" baseline="0" dirty="0" err="1"/>
              <a:t>về</a:t>
            </a:r>
            <a:r>
              <a:rPr lang="en-US" baseline="0" dirty="0"/>
              <a:t> </a:t>
            </a:r>
            <a:r>
              <a:rPr lang="en-US" baseline="0" dirty="0" err="1"/>
              <a:t>sự</a:t>
            </a:r>
            <a:r>
              <a:rPr lang="en-US" baseline="0" dirty="0"/>
              <a:t> </a:t>
            </a:r>
            <a:r>
              <a:rPr lang="en-US" baseline="0" dirty="0" err="1"/>
              <a:t>khác</a:t>
            </a:r>
            <a:r>
              <a:rPr lang="en-US" baseline="0" dirty="0"/>
              <a:t> </a:t>
            </a:r>
            <a:r>
              <a:rPr lang="en-US" baseline="0" dirty="0" err="1"/>
              <a:t>nhau</a:t>
            </a:r>
            <a:r>
              <a:rPr lang="en-US" baseline="0" dirty="0"/>
              <a:t> </a:t>
            </a:r>
            <a:r>
              <a:rPr lang="en-US" baseline="0" dirty="0" err="1"/>
              <a:t>giữa</a:t>
            </a:r>
            <a:r>
              <a:rPr lang="en-US" baseline="0" dirty="0"/>
              <a:t> </a:t>
            </a:r>
            <a:r>
              <a:rPr lang="en-US" baseline="0" dirty="0" err="1"/>
              <a:t>loại</a:t>
            </a:r>
            <a:r>
              <a:rPr lang="en-US" baseline="0" dirty="0"/>
              <a:t> </a:t>
            </a:r>
            <a:r>
              <a:rPr lang="en-US" baseline="0" dirty="0" err="1"/>
              <a:t>dữ</a:t>
            </a:r>
            <a:r>
              <a:rPr lang="en-US" baseline="0" dirty="0"/>
              <a:t> </a:t>
            </a:r>
            <a:r>
              <a:rPr lang="en-US" baseline="0" dirty="0" err="1"/>
              <a:t>liệu</a:t>
            </a:r>
            <a:r>
              <a:rPr lang="en-US" baseline="0" dirty="0"/>
              <a:t> </a:t>
            </a:r>
            <a:r>
              <a:rPr lang="en-US" baseline="0" dirty="0" err="1"/>
              <a:t>đơn</a:t>
            </a:r>
            <a:r>
              <a:rPr lang="en-US" baseline="0" dirty="0"/>
              <a:t> </a:t>
            </a:r>
            <a:r>
              <a:rPr lang="en-US" baseline="0" dirty="0" err="1"/>
              <a:t>giản</a:t>
            </a:r>
            <a:r>
              <a:rPr lang="en-US" baseline="0" dirty="0"/>
              <a:t> </a:t>
            </a:r>
            <a:r>
              <a:rPr lang="en-US" baseline="0" dirty="0" err="1"/>
              <a:t>và</a:t>
            </a:r>
            <a:r>
              <a:rPr lang="en-US" baseline="0" dirty="0"/>
              <a:t> </a:t>
            </a:r>
            <a:r>
              <a:rPr lang="en-US" baseline="0" dirty="0" err="1"/>
              <a:t>phức</a:t>
            </a:r>
            <a:r>
              <a:rPr lang="en-US" baseline="0" dirty="0"/>
              <a:t> </a:t>
            </a:r>
            <a:r>
              <a:rPr lang="en-US" baseline="0" dirty="0" err="1"/>
              <a:t>tạp</a:t>
            </a:r>
            <a:r>
              <a:rPr lang="en-US" baseline="0" dirty="0"/>
              <a:t> </a:t>
            </a:r>
            <a:r>
              <a:rPr lang="en-US" baseline="0" dirty="0" err="1"/>
              <a:t>đối</a:t>
            </a:r>
            <a:r>
              <a:rPr lang="en-US" baseline="0" dirty="0"/>
              <a:t> </a:t>
            </a:r>
            <a:r>
              <a:rPr lang="en-US" baseline="0" dirty="0" err="1"/>
              <a:t>với</a:t>
            </a:r>
            <a:r>
              <a:rPr lang="en-US" baseline="0" dirty="0"/>
              <a:t> RDBMS: </a:t>
            </a:r>
            <a:r>
              <a:rPr lang="en-US" baseline="0" dirty="0" err="1"/>
              <a:t>loại</a:t>
            </a:r>
            <a:r>
              <a:rPr lang="en-US" baseline="0" dirty="0"/>
              <a:t> </a:t>
            </a:r>
            <a:r>
              <a:rPr lang="en-US" baseline="0" dirty="0" err="1"/>
              <a:t>dữ</a:t>
            </a:r>
            <a:r>
              <a:rPr lang="en-US" baseline="0" dirty="0"/>
              <a:t> </a:t>
            </a:r>
            <a:r>
              <a:rPr lang="en-US" baseline="0" dirty="0" err="1"/>
              <a:t>liệu</a:t>
            </a:r>
            <a:r>
              <a:rPr lang="en-US" baseline="0" dirty="0"/>
              <a:t> </a:t>
            </a:r>
            <a:r>
              <a:rPr lang="en-US" baseline="0" dirty="0" err="1"/>
              <a:t>đơn</a:t>
            </a:r>
            <a:r>
              <a:rPr lang="en-US" baseline="0" dirty="0"/>
              <a:t> </a:t>
            </a:r>
            <a:r>
              <a:rPr lang="en-US" baseline="0" dirty="0" err="1"/>
              <a:t>giản</a:t>
            </a:r>
            <a:r>
              <a:rPr lang="en-US" baseline="0" dirty="0"/>
              <a:t> </a:t>
            </a:r>
            <a:r>
              <a:rPr lang="en-US" baseline="0" dirty="0" err="1"/>
              <a:t>thì</a:t>
            </a:r>
            <a:r>
              <a:rPr lang="en-US" baseline="0" dirty="0"/>
              <a:t> </a:t>
            </a:r>
            <a:r>
              <a:rPr lang="en-US" baseline="0" dirty="0" err="1"/>
              <a:t>được</a:t>
            </a:r>
            <a:r>
              <a:rPr lang="en-US" baseline="0" dirty="0"/>
              <a:t> </a:t>
            </a:r>
            <a:r>
              <a:rPr lang="en-US" baseline="0" dirty="0" err="1"/>
              <a:t>lưu</a:t>
            </a:r>
            <a:r>
              <a:rPr lang="en-US" baseline="0" dirty="0"/>
              <a:t> </a:t>
            </a:r>
            <a:r>
              <a:rPr lang="en-US" baseline="0" dirty="0" err="1"/>
              <a:t>trên</a:t>
            </a:r>
            <a:r>
              <a:rPr lang="en-US" baseline="0" dirty="0"/>
              <a:t> table, </a:t>
            </a:r>
            <a:r>
              <a:rPr lang="en-US" baseline="0" dirty="0" err="1"/>
              <a:t>phức</a:t>
            </a:r>
            <a:r>
              <a:rPr lang="en-US" baseline="0" dirty="0"/>
              <a:t> </a:t>
            </a:r>
            <a:r>
              <a:rPr lang="en-US" baseline="0" dirty="0" err="1"/>
              <a:t>tạp</a:t>
            </a:r>
            <a:r>
              <a:rPr lang="en-US" baseline="0" dirty="0"/>
              <a:t> </a:t>
            </a:r>
            <a:r>
              <a:rPr lang="en-US" baseline="0" dirty="0" err="1"/>
              <a:t>thì</a:t>
            </a:r>
            <a:r>
              <a:rPr lang="en-US" baseline="0" dirty="0"/>
              <a:t> </a:t>
            </a:r>
            <a:r>
              <a:rPr lang="en-US" baseline="0" dirty="0" err="1"/>
              <a:t>ko</a:t>
            </a:r>
            <a:r>
              <a:rPr lang="en-US" baseline="0" dirty="0"/>
              <a:t> </a:t>
            </a:r>
            <a:r>
              <a:rPr lang="en-US" baseline="0" dirty="0" err="1"/>
              <a:t>thể</a:t>
            </a:r>
            <a:r>
              <a:rPr lang="en-US" baseline="0" dirty="0"/>
              <a:t> </a:t>
            </a:r>
            <a:r>
              <a:rPr lang="en-US" baseline="0" dirty="0" err="1"/>
              <a:t>lưu</a:t>
            </a:r>
            <a:r>
              <a:rPr lang="en-US" baseline="0" dirty="0"/>
              <a:t> </a:t>
            </a:r>
            <a:r>
              <a:rPr lang="en-US" baseline="0" dirty="0" err="1"/>
              <a:t>trên</a:t>
            </a:r>
            <a:r>
              <a:rPr lang="en-US" baseline="0" dirty="0"/>
              <a:t> 1 </a:t>
            </a:r>
            <a:r>
              <a:rPr lang="en-US" baseline="0" dirty="0" err="1"/>
              <a:t>bảng</a:t>
            </a:r>
            <a:r>
              <a:rPr lang="en-US" baseline="0" dirty="0"/>
              <a:t> </a:t>
            </a:r>
            <a:r>
              <a:rPr lang="en-US" baseline="0" dirty="0" err="1"/>
              <a:t>đc</a:t>
            </a:r>
            <a:r>
              <a:rPr lang="en-US" baseline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4585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Cách</a:t>
            </a:r>
            <a:r>
              <a:rPr lang="en-US" baseline="0" dirty="0"/>
              <a:t> </a:t>
            </a:r>
            <a:r>
              <a:rPr lang="en-US" baseline="0" dirty="0" err="1"/>
              <a:t>lưu</a:t>
            </a:r>
            <a:r>
              <a:rPr lang="en-US" baseline="0" dirty="0"/>
              <a:t> </a:t>
            </a:r>
            <a:r>
              <a:rPr lang="en-US" baseline="0" dirty="0" err="1"/>
              <a:t>trữ</a:t>
            </a:r>
            <a:r>
              <a:rPr lang="en-US" baseline="0" dirty="0"/>
              <a:t> </a:t>
            </a:r>
            <a:r>
              <a:rPr lang="en-US" baseline="0" dirty="0" err="1"/>
              <a:t>và</a:t>
            </a:r>
            <a:r>
              <a:rPr lang="en-US" baseline="0" dirty="0"/>
              <a:t> </a:t>
            </a:r>
            <a:r>
              <a:rPr lang="en-US" baseline="0" dirty="0" err="1"/>
              <a:t>lấy</a:t>
            </a:r>
            <a:r>
              <a:rPr lang="en-US" baseline="0" dirty="0"/>
              <a:t> </a:t>
            </a:r>
            <a:r>
              <a:rPr lang="en-US" baseline="0" dirty="0" err="1"/>
              <a:t>dữ</a:t>
            </a:r>
            <a:r>
              <a:rPr lang="en-US" baseline="0" dirty="0"/>
              <a:t> </a:t>
            </a:r>
            <a:r>
              <a:rPr lang="en-US" baseline="0" dirty="0" err="1"/>
              <a:t>liệu</a:t>
            </a:r>
            <a:r>
              <a:rPr lang="en-US" baseline="0" dirty="0"/>
              <a:t> ra</a:t>
            </a:r>
          </a:p>
          <a:p>
            <a:pPr marL="171450" indent="-171450">
              <a:buFontTx/>
              <a:buChar char="-"/>
            </a:pPr>
            <a:r>
              <a:rPr lang="en-US" baseline="0" dirty="0" err="1"/>
              <a:t>Dễ</a:t>
            </a:r>
            <a:r>
              <a:rPr lang="en-US" baseline="0" dirty="0"/>
              <a:t> phan </a:t>
            </a:r>
            <a:r>
              <a:rPr lang="en-US" baseline="0" dirty="0" err="1"/>
              <a:t>tán</a:t>
            </a:r>
            <a:endParaRPr lang="en-US" baseline="0" dirty="0"/>
          </a:p>
          <a:p>
            <a:pPr marL="171450" indent="-171450">
              <a:buFontTx/>
              <a:buChar char="-"/>
            </a:pPr>
            <a:r>
              <a:rPr lang="en-US" baseline="0" dirty="0" err="1"/>
              <a:t>Đa</a:t>
            </a:r>
            <a:r>
              <a:rPr lang="en-US" baseline="0" dirty="0"/>
              <a:t> </a:t>
            </a:r>
            <a:r>
              <a:rPr lang="en-US" baseline="0" dirty="0" err="1"/>
              <a:t>dạng</a:t>
            </a:r>
            <a:endParaRPr lang="en-US" baseline="0" dirty="0"/>
          </a:p>
          <a:p>
            <a:pPr marL="171450" indent="-171450">
              <a:buFontTx/>
              <a:buChar char="-"/>
            </a:pPr>
            <a:r>
              <a:rPr lang="en-US" baseline="0" dirty="0" err="1"/>
              <a:t>Giảm</a:t>
            </a:r>
            <a:r>
              <a:rPr lang="en-US" baseline="0" dirty="0"/>
              <a:t> </a:t>
            </a:r>
            <a:r>
              <a:rPr lang="en-US" baseline="0" dirty="0" err="1"/>
              <a:t>thiểu</a:t>
            </a:r>
            <a:r>
              <a:rPr lang="en-US" baseline="0" dirty="0"/>
              <a:t> </a:t>
            </a:r>
            <a:r>
              <a:rPr lang="en-US" baseline="0" dirty="0" err="1"/>
              <a:t>độ</a:t>
            </a:r>
            <a:r>
              <a:rPr lang="en-US" baseline="0" dirty="0"/>
              <a:t> </a:t>
            </a:r>
            <a:r>
              <a:rPr lang="en-US" baseline="0" dirty="0" err="1"/>
              <a:t>trễ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2698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background"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Shape 266"/>
          <p:cNvSpPr/>
          <p:nvPr/>
        </p:nvSpPr>
        <p:spPr>
          <a:xfrm>
            <a:off x="0" y="0"/>
            <a:ext cx="9144000" cy="5157300"/>
          </a:xfrm>
          <a:prstGeom prst="frame">
            <a:avLst>
              <a:gd name="adj1" fmla="val 7929"/>
            </a:avLst>
          </a:prstGeom>
          <a:solidFill>
            <a:srgbClr val="FFFFFF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67" name="Shape 267"/>
          <p:cNvSpPr/>
          <p:nvPr/>
        </p:nvSpPr>
        <p:spPr>
          <a:xfrm>
            <a:off x="-117275" y="847256"/>
            <a:ext cx="605400" cy="605400"/>
          </a:xfrm>
          <a:prstGeom prst="ellipse">
            <a:avLst/>
          </a:prstGeom>
          <a:solidFill>
            <a:srgbClr val="02BDC7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68" name="Shape 268"/>
          <p:cNvSpPr/>
          <p:nvPr/>
        </p:nvSpPr>
        <p:spPr>
          <a:xfrm>
            <a:off x="217850" y="171250"/>
            <a:ext cx="1054200" cy="1054200"/>
          </a:xfrm>
          <a:prstGeom prst="ellipse">
            <a:avLst/>
          </a:prstGeom>
          <a:solidFill>
            <a:srgbClr val="FFB600">
              <a:alpha val="79620"/>
            </a:srgbClr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69" name="Shape 269"/>
          <p:cNvSpPr/>
          <p:nvPr/>
        </p:nvSpPr>
        <p:spPr>
          <a:xfrm>
            <a:off x="1156975" y="-137273"/>
            <a:ext cx="398700" cy="398699"/>
          </a:xfrm>
          <a:prstGeom prst="ellipse">
            <a:avLst/>
          </a:prstGeom>
          <a:solidFill>
            <a:srgbClr val="FF975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70" name="Shape 270"/>
          <p:cNvSpPr/>
          <p:nvPr/>
        </p:nvSpPr>
        <p:spPr>
          <a:xfrm>
            <a:off x="1397225" y="337513"/>
            <a:ext cx="136800" cy="136800"/>
          </a:xfrm>
          <a:prstGeom prst="ellipse">
            <a:avLst/>
          </a:prstGeom>
          <a:solidFill>
            <a:srgbClr val="02BDC7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71" name="Shape 271"/>
          <p:cNvSpPr/>
          <p:nvPr/>
        </p:nvSpPr>
        <p:spPr>
          <a:xfrm>
            <a:off x="488128" y="1334484"/>
            <a:ext cx="213000" cy="213000"/>
          </a:xfrm>
          <a:prstGeom prst="ellipse">
            <a:avLst/>
          </a:prstGeom>
          <a:solidFill>
            <a:srgbClr val="FC4067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72" name="Shape 272"/>
          <p:cNvSpPr/>
          <p:nvPr/>
        </p:nvSpPr>
        <p:spPr>
          <a:xfrm>
            <a:off x="7847950" y="4168078"/>
            <a:ext cx="1097700" cy="1097700"/>
          </a:xfrm>
          <a:prstGeom prst="ellipse">
            <a:avLst/>
          </a:prstGeom>
          <a:solidFill>
            <a:srgbClr val="02BDC7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73" name="Shape 273"/>
          <p:cNvSpPr/>
          <p:nvPr/>
        </p:nvSpPr>
        <p:spPr>
          <a:xfrm>
            <a:off x="8507493" y="2981146"/>
            <a:ext cx="774600" cy="774600"/>
          </a:xfrm>
          <a:prstGeom prst="ellipse">
            <a:avLst/>
          </a:prstGeom>
          <a:solidFill>
            <a:srgbClr val="FC4067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74" name="Shape 274"/>
          <p:cNvSpPr/>
          <p:nvPr/>
        </p:nvSpPr>
        <p:spPr>
          <a:xfrm>
            <a:off x="8094101" y="3973940"/>
            <a:ext cx="413400" cy="413400"/>
          </a:xfrm>
          <a:prstGeom prst="ellipse">
            <a:avLst/>
          </a:prstGeom>
          <a:solidFill>
            <a:srgbClr val="FC4540">
              <a:alpha val="78850"/>
            </a:srgbClr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75" name="Shape 275"/>
          <p:cNvSpPr/>
          <p:nvPr/>
        </p:nvSpPr>
        <p:spPr>
          <a:xfrm>
            <a:off x="8622048" y="3872635"/>
            <a:ext cx="213000" cy="213000"/>
          </a:xfrm>
          <a:prstGeom prst="ellipse">
            <a:avLst/>
          </a:prstGeom>
          <a:solidFill>
            <a:srgbClr val="FF975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76" name="Shape 276"/>
          <p:cNvSpPr/>
          <p:nvPr/>
        </p:nvSpPr>
        <p:spPr>
          <a:xfrm>
            <a:off x="7550021" y="4801657"/>
            <a:ext cx="213000" cy="213000"/>
          </a:xfrm>
          <a:prstGeom prst="ellipse">
            <a:avLst/>
          </a:prstGeom>
          <a:solidFill>
            <a:srgbClr val="FFB600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77" name="Shape 277"/>
          <p:cNvSpPr/>
          <p:nvPr/>
        </p:nvSpPr>
        <p:spPr>
          <a:xfrm>
            <a:off x="7325660" y="4674667"/>
            <a:ext cx="93900" cy="93900"/>
          </a:xfrm>
          <a:prstGeom prst="ellipse">
            <a:avLst/>
          </a:prstGeom>
          <a:solidFill>
            <a:srgbClr val="02BDC7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78" name="Shape 278"/>
          <p:cNvSpPr/>
          <p:nvPr/>
        </p:nvSpPr>
        <p:spPr>
          <a:xfrm>
            <a:off x="258289" y="1577100"/>
            <a:ext cx="93900" cy="93899"/>
          </a:xfrm>
          <a:prstGeom prst="ellipse">
            <a:avLst/>
          </a:prstGeom>
          <a:solidFill>
            <a:srgbClr val="FFB600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79" name="Shape 279"/>
          <p:cNvSpPr/>
          <p:nvPr/>
        </p:nvSpPr>
        <p:spPr>
          <a:xfrm>
            <a:off x="8726411" y="3200064"/>
            <a:ext cx="336767" cy="336767"/>
          </a:xfrm>
          <a:custGeom>
            <a:avLst/>
            <a:gdLst/>
            <a:ahLst/>
            <a:cxnLst/>
            <a:rect l="0" t="0" r="0" b="0"/>
            <a:pathLst>
              <a:path w="16027" h="16027" fill="none" extrusionOk="0">
                <a:moveTo>
                  <a:pt x="14029" y="4019"/>
                </a:moveTo>
                <a:lnTo>
                  <a:pt x="14029" y="4019"/>
                </a:lnTo>
                <a:lnTo>
                  <a:pt x="14200" y="3849"/>
                </a:lnTo>
                <a:lnTo>
                  <a:pt x="14395" y="3752"/>
                </a:lnTo>
                <a:lnTo>
                  <a:pt x="14614" y="3678"/>
                </a:lnTo>
                <a:lnTo>
                  <a:pt x="14809" y="3630"/>
                </a:lnTo>
                <a:lnTo>
                  <a:pt x="15028" y="3581"/>
                </a:lnTo>
                <a:lnTo>
                  <a:pt x="15247" y="3484"/>
                </a:lnTo>
                <a:lnTo>
                  <a:pt x="15442" y="3362"/>
                </a:lnTo>
                <a:lnTo>
                  <a:pt x="15661" y="3191"/>
                </a:lnTo>
                <a:lnTo>
                  <a:pt x="15661" y="3191"/>
                </a:lnTo>
                <a:lnTo>
                  <a:pt x="15832" y="2997"/>
                </a:lnTo>
                <a:lnTo>
                  <a:pt x="15929" y="2777"/>
                </a:lnTo>
                <a:lnTo>
                  <a:pt x="16002" y="2534"/>
                </a:lnTo>
                <a:lnTo>
                  <a:pt x="16026" y="2266"/>
                </a:lnTo>
                <a:lnTo>
                  <a:pt x="16026" y="2266"/>
                </a:lnTo>
                <a:lnTo>
                  <a:pt x="16002" y="2047"/>
                </a:lnTo>
                <a:lnTo>
                  <a:pt x="15978" y="1827"/>
                </a:lnTo>
                <a:lnTo>
                  <a:pt x="15905" y="1633"/>
                </a:lnTo>
                <a:lnTo>
                  <a:pt x="15807" y="1413"/>
                </a:lnTo>
                <a:lnTo>
                  <a:pt x="15710" y="1243"/>
                </a:lnTo>
                <a:lnTo>
                  <a:pt x="15588" y="1048"/>
                </a:lnTo>
                <a:lnTo>
                  <a:pt x="15466" y="878"/>
                </a:lnTo>
                <a:lnTo>
                  <a:pt x="15320" y="707"/>
                </a:lnTo>
                <a:lnTo>
                  <a:pt x="15320" y="707"/>
                </a:lnTo>
                <a:lnTo>
                  <a:pt x="15150" y="561"/>
                </a:lnTo>
                <a:lnTo>
                  <a:pt x="14979" y="439"/>
                </a:lnTo>
                <a:lnTo>
                  <a:pt x="14784" y="317"/>
                </a:lnTo>
                <a:lnTo>
                  <a:pt x="14590" y="196"/>
                </a:lnTo>
                <a:lnTo>
                  <a:pt x="14395" y="123"/>
                </a:lnTo>
                <a:lnTo>
                  <a:pt x="14175" y="50"/>
                </a:lnTo>
                <a:lnTo>
                  <a:pt x="13981" y="25"/>
                </a:lnTo>
                <a:lnTo>
                  <a:pt x="13761" y="1"/>
                </a:lnTo>
                <a:lnTo>
                  <a:pt x="13761" y="1"/>
                </a:lnTo>
                <a:lnTo>
                  <a:pt x="13494" y="25"/>
                </a:lnTo>
                <a:lnTo>
                  <a:pt x="13250" y="98"/>
                </a:lnTo>
                <a:lnTo>
                  <a:pt x="13031" y="196"/>
                </a:lnTo>
                <a:lnTo>
                  <a:pt x="12836" y="366"/>
                </a:lnTo>
                <a:lnTo>
                  <a:pt x="12836" y="366"/>
                </a:lnTo>
                <a:lnTo>
                  <a:pt x="12665" y="561"/>
                </a:lnTo>
                <a:lnTo>
                  <a:pt x="12544" y="780"/>
                </a:lnTo>
                <a:lnTo>
                  <a:pt x="12471" y="975"/>
                </a:lnTo>
                <a:lnTo>
                  <a:pt x="12422" y="1194"/>
                </a:lnTo>
                <a:lnTo>
                  <a:pt x="12349" y="1413"/>
                </a:lnTo>
                <a:lnTo>
                  <a:pt x="12276" y="1608"/>
                </a:lnTo>
                <a:lnTo>
                  <a:pt x="12178" y="1827"/>
                </a:lnTo>
                <a:lnTo>
                  <a:pt x="12008" y="1998"/>
                </a:lnTo>
                <a:lnTo>
                  <a:pt x="12008" y="1998"/>
                </a:lnTo>
                <a:lnTo>
                  <a:pt x="11740" y="2266"/>
                </a:lnTo>
                <a:lnTo>
                  <a:pt x="11496" y="2436"/>
                </a:lnTo>
                <a:lnTo>
                  <a:pt x="11277" y="2534"/>
                </a:lnTo>
                <a:lnTo>
                  <a:pt x="11082" y="2582"/>
                </a:lnTo>
                <a:lnTo>
                  <a:pt x="10888" y="2582"/>
                </a:lnTo>
                <a:lnTo>
                  <a:pt x="10717" y="2534"/>
                </a:lnTo>
                <a:lnTo>
                  <a:pt x="10547" y="2412"/>
                </a:lnTo>
                <a:lnTo>
                  <a:pt x="10376" y="2290"/>
                </a:lnTo>
                <a:lnTo>
                  <a:pt x="10206" y="2095"/>
                </a:lnTo>
                <a:lnTo>
                  <a:pt x="10035" y="1901"/>
                </a:lnTo>
                <a:lnTo>
                  <a:pt x="9670" y="1413"/>
                </a:lnTo>
                <a:lnTo>
                  <a:pt x="9231" y="878"/>
                </a:lnTo>
                <a:lnTo>
                  <a:pt x="8988" y="585"/>
                </a:lnTo>
                <a:lnTo>
                  <a:pt x="8720" y="293"/>
                </a:lnTo>
                <a:lnTo>
                  <a:pt x="8720" y="293"/>
                </a:lnTo>
                <a:lnTo>
                  <a:pt x="8574" y="171"/>
                </a:lnTo>
                <a:lnTo>
                  <a:pt x="8379" y="74"/>
                </a:lnTo>
                <a:lnTo>
                  <a:pt x="8209" y="25"/>
                </a:lnTo>
                <a:lnTo>
                  <a:pt x="8014" y="1"/>
                </a:lnTo>
                <a:lnTo>
                  <a:pt x="8014" y="1"/>
                </a:lnTo>
                <a:lnTo>
                  <a:pt x="7916" y="25"/>
                </a:lnTo>
                <a:lnTo>
                  <a:pt x="7770" y="98"/>
                </a:lnTo>
                <a:lnTo>
                  <a:pt x="7307" y="366"/>
                </a:lnTo>
                <a:lnTo>
                  <a:pt x="7039" y="537"/>
                </a:lnTo>
                <a:lnTo>
                  <a:pt x="6747" y="756"/>
                </a:lnTo>
                <a:lnTo>
                  <a:pt x="6431" y="975"/>
                </a:lnTo>
                <a:lnTo>
                  <a:pt x="6138" y="1243"/>
                </a:lnTo>
                <a:lnTo>
                  <a:pt x="5870" y="1511"/>
                </a:lnTo>
                <a:lnTo>
                  <a:pt x="5627" y="1803"/>
                </a:lnTo>
                <a:lnTo>
                  <a:pt x="5432" y="2095"/>
                </a:lnTo>
                <a:lnTo>
                  <a:pt x="5359" y="2242"/>
                </a:lnTo>
                <a:lnTo>
                  <a:pt x="5310" y="2412"/>
                </a:lnTo>
                <a:lnTo>
                  <a:pt x="5262" y="2558"/>
                </a:lnTo>
                <a:lnTo>
                  <a:pt x="5237" y="2704"/>
                </a:lnTo>
                <a:lnTo>
                  <a:pt x="5237" y="2850"/>
                </a:lnTo>
                <a:lnTo>
                  <a:pt x="5262" y="3021"/>
                </a:lnTo>
                <a:lnTo>
                  <a:pt x="5310" y="3167"/>
                </a:lnTo>
                <a:lnTo>
                  <a:pt x="5383" y="3313"/>
                </a:lnTo>
                <a:lnTo>
                  <a:pt x="5481" y="3459"/>
                </a:lnTo>
                <a:lnTo>
                  <a:pt x="5603" y="3605"/>
                </a:lnTo>
                <a:lnTo>
                  <a:pt x="5603" y="3605"/>
                </a:lnTo>
                <a:lnTo>
                  <a:pt x="5797" y="3752"/>
                </a:lnTo>
                <a:lnTo>
                  <a:pt x="5992" y="3849"/>
                </a:lnTo>
                <a:lnTo>
                  <a:pt x="6187" y="3946"/>
                </a:lnTo>
                <a:lnTo>
                  <a:pt x="6406" y="3995"/>
                </a:lnTo>
                <a:lnTo>
                  <a:pt x="6625" y="4044"/>
                </a:lnTo>
                <a:lnTo>
                  <a:pt x="6845" y="4141"/>
                </a:lnTo>
                <a:lnTo>
                  <a:pt x="7039" y="4239"/>
                </a:lnTo>
                <a:lnTo>
                  <a:pt x="7234" y="4409"/>
                </a:lnTo>
                <a:lnTo>
                  <a:pt x="7234" y="4409"/>
                </a:lnTo>
                <a:lnTo>
                  <a:pt x="7405" y="4604"/>
                </a:lnTo>
                <a:lnTo>
                  <a:pt x="7502" y="4823"/>
                </a:lnTo>
                <a:lnTo>
                  <a:pt x="7575" y="5067"/>
                </a:lnTo>
                <a:lnTo>
                  <a:pt x="7600" y="5359"/>
                </a:lnTo>
                <a:lnTo>
                  <a:pt x="7600" y="5359"/>
                </a:lnTo>
                <a:lnTo>
                  <a:pt x="7575" y="5554"/>
                </a:lnTo>
                <a:lnTo>
                  <a:pt x="7551" y="5773"/>
                </a:lnTo>
                <a:lnTo>
                  <a:pt x="7478" y="5968"/>
                </a:lnTo>
                <a:lnTo>
                  <a:pt x="7405" y="6163"/>
                </a:lnTo>
                <a:lnTo>
                  <a:pt x="7307" y="6357"/>
                </a:lnTo>
                <a:lnTo>
                  <a:pt x="7186" y="6552"/>
                </a:lnTo>
                <a:lnTo>
                  <a:pt x="7039" y="6723"/>
                </a:lnTo>
                <a:lnTo>
                  <a:pt x="6893" y="6893"/>
                </a:lnTo>
                <a:lnTo>
                  <a:pt x="6893" y="6893"/>
                </a:lnTo>
                <a:lnTo>
                  <a:pt x="6723" y="7039"/>
                </a:lnTo>
                <a:lnTo>
                  <a:pt x="6552" y="7186"/>
                </a:lnTo>
                <a:lnTo>
                  <a:pt x="6382" y="7283"/>
                </a:lnTo>
                <a:lnTo>
                  <a:pt x="6187" y="7405"/>
                </a:lnTo>
                <a:lnTo>
                  <a:pt x="5992" y="7478"/>
                </a:lnTo>
                <a:lnTo>
                  <a:pt x="5773" y="7551"/>
                </a:lnTo>
                <a:lnTo>
                  <a:pt x="5554" y="7575"/>
                </a:lnTo>
                <a:lnTo>
                  <a:pt x="5359" y="7600"/>
                </a:lnTo>
                <a:lnTo>
                  <a:pt x="5359" y="7600"/>
                </a:lnTo>
                <a:lnTo>
                  <a:pt x="5091" y="7575"/>
                </a:lnTo>
                <a:lnTo>
                  <a:pt x="4848" y="7502"/>
                </a:lnTo>
                <a:lnTo>
                  <a:pt x="4604" y="7405"/>
                </a:lnTo>
                <a:lnTo>
                  <a:pt x="4409" y="7234"/>
                </a:lnTo>
                <a:lnTo>
                  <a:pt x="4409" y="7234"/>
                </a:lnTo>
                <a:lnTo>
                  <a:pt x="4239" y="7039"/>
                </a:lnTo>
                <a:lnTo>
                  <a:pt x="4117" y="6820"/>
                </a:lnTo>
                <a:lnTo>
                  <a:pt x="4044" y="6601"/>
                </a:lnTo>
                <a:lnTo>
                  <a:pt x="3971" y="6382"/>
                </a:lnTo>
                <a:lnTo>
                  <a:pt x="3922" y="6187"/>
                </a:lnTo>
                <a:lnTo>
                  <a:pt x="3849" y="5992"/>
                </a:lnTo>
                <a:lnTo>
                  <a:pt x="3752" y="5797"/>
                </a:lnTo>
                <a:lnTo>
                  <a:pt x="3605" y="5602"/>
                </a:lnTo>
                <a:lnTo>
                  <a:pt x="3605" y="5602"/>
                </a:lnTo>
                <a:lnTo>
                  <a:pt x="3459" y="5481"/>
                </a:lnTo>
                <a:lnTo>
                  <a:pt x="3313" y="5383"/>
                </a:lnTo>
                <a:lnTo>
                  <a:pt x="3167" y="5310"/>
                </a:lnTo>
                <a:lnTo>
                  <a:pt x="3021" y="5262"/>
                </a:lnTo>
                <a:lnTo>
                  <a:pt x="2850" y="5237"/>
                </a:lnTo>
                <a:lnTo>
                  <a:pt x="2704" y="5237"/>
                </a:lnTo>
                <a:lnTo>
                  <a:pt x="2558" y="5262"/>
                </a:lnTo>
                <a:lnTo>
                  <a:pt x="2412" y="5310"/>
                </a:lnTo>
                <a:lnTo>
                  <a:pt x="2242" y="5359"/>
                </a:lnTo>
                <a:lnTo>
                  <a:pt x="2095" y="5432"/>
                </a:lnTo>
                <a:lnTo>
                  <a:pt x="1803" y="5627"/>
                </a:lnTo>
                <a:lnTo>
                  <a:pt x="1511" y="5870"/>
                </a:lnTo>
                <a:lnTo>
                  <a:pt x="1243" y="6138"/>
                </a:lnTo>
                <a:lnTo>
                  <a:pt x="975" y="6431"/>
                </a:lnTo>
                <a:lnTo>
                  <a:pt x="756" y="6747"/>
                </a:lnTo>
                <a:lnTo>
                  <a:pt x="537" y="7039"/>
                </a:lnTo>
                <a:lnTo>
                  <a:pt x="366" y="7307"/>
                </a:lnTo>
                <a:lnTo>
                  <a:pt x="98" y="7770"/>
                </a:lnTo>
                <a:lnTo>
                  <a:pt x="25" y="7916"/>
                </a:lnTo>
                <a:lnTo>
                  <a:pt x="1" y="8014"/>
                </a:lnTo>
                <a:lnTo>
                  <a:pt x="1" y="8014"/>
                </a:lnTo>
                <a:lnTo>
                  <a:pt x="25" y="8208"/>
                </a:lnTo>
                <a:lnTo>
                  <a:pt x="74" y="8379"/>
                </a:lnTo>
                <a:lnTo>
                  <a:pt x="171" y="8574"/>
                </a:lnTo>
                <a:lnTo>
                  <a:pt x="293" y="8720"/>
                </a:lnTo>
                <a:lnTo>
                  <a:pt x="293" y="8720"/>
                </a:lnTo>
                <a:lnTo>
                  <a:pt x="585" y="8988"/>
                </a:lnTo>
                <a:lnTo>
                  <a:pt x="878" y="9231"/>
                </a:lnTo>
                <a:lnTo>
                  <a:pt x="1413" y="9670"/>
                </a:lnTo>
                <a:lnTo>
                  <a:pt x="1901" y="10035"/>
                </a:lnTo>
                <a:lnTo>
                  <a:pt x="2095" y="10206"/>
                </a:lnTo>
                <a:lnTo>
                  <a:pt x="2290" y="10376"/>
                </a:lnTo>
                <a:lnTo>
                  <a:pt x="2412" y="10547"/>
                </a:lnTo>
                <a:lnTo>
                  <a:pt x="2534" y="10717"/>
                </a:lnTo>
                <a:lnTo>
                  <a:pt x="2583" y="10888"/>
                </a:lnTo>
                <a:lnTo>
                  <a:pt x="2583" y="11082"/>
                </a:lnTo>
                <a:lnTo>
                  <a:pt x="2534" y="11277"/>
                </a:lnTo>
                <a:lnTo>
                  <a:pt x="2436" y="11496"/>
                </a:lnTo>
                <a:lnTo>
                  <a:pt x="2266" y="11740"/>
                </a:lnTo>
                <a:lnTo>
                  <a:pt x="1998" y="12008"/>
                </a:lnTo>
                <a:lnTo>
                  <a:pt x="1998" y="12008"/>
                </a:lnTo>
                <a:lnTo>
                  <a:pt x="1828" y="12178"/>
                </a:lnTo>
                <a:lnTo>
                  <a:pt x="1633" y="12276"/>
                </a:lnTo>
                <a:lnTo>
                  <a:pt x="1413" y="12349"/>
                </a:lnTo>
                <a:lnTo>
                  <a:pt x="1219" y="12398"/>
                </a:lnTo>
                <a:lnTo>
                  <a:pt x="999" y="12446"/>
                </a:lnTo>
                <a:lnTo>
                  <a:pt x="780" y="12544"/>
                </a:lnTo>
                <a:lnTo>
                  <a:pt x="585" y="12665"/>
                </a:lnTo>
                <a:lnTo>
                  <a:pt x="366" y="12836"/>
                </a:lnTo>
                <a:lnTo>
                  <a:pt x="366" y="12836"/>
                </a:lnTo>
                <a:lnTo>
                  <a:pt x="196" y="13031"/>
                </a:lnTo>
                <a:lnTo>
                  <a:pt x="98" y="13250"/>
                </a:lnTo>
                <a:lnTo>
                  <a:pt x="25" y="13493"/>
                </a:lnTo>
                <a:lnTo>
                  <a:pt x="1" y="13761"/>
                </a:lnTo>
                <a:lnTo>
                  <a:pt x="1" y="13761"/>
                </a:lnTo>
                <a:lnTo>
                  <a:pt x="25" y="13981"/>
                </a:lnTo>
                <a:lnTo>
                  <a:pt x="50" y="14200"/>
                </a:lnTo>
                <a:lnTo>
                  <a:pt x="123" y="14395"/>
                </a:lnTo>
                <a:lnTo>
                  <a:pt x="220" y="14614"/>
                </a:lnTo>
                <a:lnTo>
                  <a:pt x="318" y="14784"/>
                </a:lnTo>
                <a:lnTo>
                  <a:pt x="439" y="14979"/>
                </a:lnTo>
                <a:lnTo>
                  <a:pt x="561" y="15150"/>
                </a:lnTo>
                <a:lnTo>
                  <a:pt x="707" y="15320"/>
                </a:lnTo>
                <a:lnTo>
                  <a:pt x="707" y="15320"/>
                </a:lnTo>
                <a:lnTo>
                  <a:pt x="878" y="15466"/>
                </a:lnTo>
                <a:lnTo>
                  <a:pt x="1048" y="15588"/>
                </a:lnTo>
                <a:lnTo>
                  <a:pt x="1243" y="15710"/>
                </a:lnTo>
                <a:lnTo>
                  <a:pt x="1438" y="15832"/>
                </a:lnTo>
                <a:lnTo>
                  <a:pt x="1633" y="15905"/>
                </a:lnTo>
                <a:lnTo>
                  <a:pt x="1852" y="15978"/>
                </a:lnTo>
                <a:lnTo>
                  <a:pt x="2047" y="16002"/>
                </a:lnTo>
                <a:lnTo>
                  <a:pt x="2266" y="16026"/>
                </a:lnTo>
                <a:lnTo>
                  <a:pt x="2266" y="16026"/>
                </a:lnTo>
                <a:lnTo>
                  <a:pt x="2534" y="16002"/>
                </a:lnTo>
                <a:lnTo>
                  <a:pt x="2777" y="15929"/>
                </a:lnTo>
                <a:lnTo>
                  <a:pt x="2997" y="15832"/>
                </a:lnTo>
                <a:lnTo>
                  <a:pt x="3191" y="15661"/>
                </a:lnTo>
                <a:lnTo>
                  <a:pt x="3191" y="15661"/>
                </a:lnTo>
                <a:lnTo>
                  <a:pt x="3362" y="15466"/>
                </a:lnTo>
                <a:lnTo>
                  <a:pt x="3484" y="15247"/>
                </a:lnTo>
                <a:lnTo>
                  <a:pt x="3557" y="15052"/>
                </a:lnTo>
                <a:lnTo>
                  <a:pt x="3605" y="14833"/>
                </a:lnTo>
                <a:lnTo>
                  <a:pt x="3679" y="14614"/>
                </a:lnTo>
                <a:lnTo>
                  <a:pt x="3752" y="14419"/>
                </a:lnTo>
                <a:lnTo>
                  <a:pt x="3849" y="14200"/>
                </a:lnTo>
                <a:lnTo>
                  <a:pt x="4019" y="14029"/>
                </a:lnTo>
                <a:lnTo>
                  <a:pt x="4019" y="14029"/>
                </a:lnTo>
                <a:lnTo>
                  <a:pt x="4287" y="13786"/>
                </a:lnTo>
                <a:lnTo>
                  <a:pt x="4531" y="13591"/>
                </a:lnTo>
                <a:lnTo>
                  <a:pt x="4750" y="13493"/>
                </a:lnTo>
                <a:lnTo>
                  <a:pt x="4945" y="13445"/>
                </a:lnTo>
                <a:lnTo>
                  <a:pt x="5140" y="13445"/>
                </a:lnTo>
                <a:lnTo>
                  <a:pt x="5310" y="13493"/>
                </a:lnTo>
                <a:lnTo>
                  <a:pt x="5481" y="13615"/>
                </a:lnTo>
                <a:lnTo>
                  <a:pt x="5651" y="13737"/>
                </a:lnTo>
                <a:lnTo>
                  <a:pt x="5822" y="13932"/>
                </a:lnTo>
                <a:lnTo>
                  <a:pt x="5992" y="14127"/>
                </a:lnTo>
                <a:lnTo>
                  <a:pt x="6358" y="14614"/>
                </a:lnTo>
                <a:lnTo>
                  <a:pt x="6796" y="15150"/>
                </a:lnTo>
                <a:lnTo>
                  <a:pt x="7039" y="15442"/>
                </a:lnTo>
                <a:lnTo>
                  <a:pt x="7307" y="15734"/>
                </a:lnTo>
                <a:lnTo>
                  <a:pt x="7307" y="15734"/>
                </a:lnTo>
                <a:lnTo>
                  <a:pt x="7454" y="15856"/>
                </a:lnTo>
                <a:lnTo>
                  <a:pt x="7648" y="15953"/>
                </a:lnTo>
                <a:lnTo>
                  <a:pt x="7819" y="16002"/>
                </a:lnTo>
                <a:lnTo>
                  <a:pt x="8014" y="16026"/>
                </a:lnTo>
                <a:lnTo>
                  <a:pt x="8014" y="16026"/>
                </a:lnTo>
                <a:lnTo>
                  <a:pt x="8111" y="16002"/>
                </a:lnTo>
                <a:lnTo>
                  <a:pt x="8257" y="15929"/>
                </a:lnTo>
                <a:lnTo>
                  <a:pt x="8720" y="15661"/>
                </a:lnTo>
                <a:lnTo>
                  <a:pt x="8988" y="15491"/>
                </a:lnTo>
                <a:lnTo>
                  <a:pt x="9280" y="15271"/>
                </a:lnTo>
                <a:lnTo>
                  <a:pt x="9597" y="15052"/>
                </a:lnTo>
                <a:lnTo>
                  <a:pt x="9889" y="14784"/>
                </a:lnTo>
                <a:lnTo>
                  <a:pt x="10157" y="14516"/>
                </a:lnTo>
                <a:lnTo>
                  <a:pt x="10400" y="14224"/>
                </a:lnTo>
                <a:lnTo>
                  <a:pt x="10595" y="13932"/>
                </a:lnTo>
                <a:lnTo>
                  <a:pt x="10668" y="13786"/>
                </a:lnTo>
                <a:lnTo>
                  <a:pt x="10717" y="13615"/>
                </a:lnTo>
                <a:lnTo>
                  <a:pt x="10766" y="13469"/>
                </a:lnTo>
                <a:lnTo>
                  <a:pt x="10790" y="13323"/>
                </a:lnTo>
                <a:lnTo>
                  <a:pt x="10790" y="13177"/>
                </a:lnTo>
                <a:lnTo>
                  <a:pt x="10766" y="13006"/>
                </a:lnTo>
                <a:lnTo>
                  <a:pt x="10717" y="12860"/>
                </a:lnTo>
                <a:lnTo>
                  <a:pt x="10644" y="12714"/>
                </a:lnTo>
                <a:lnTo>
                  <a:pt x="10547" y="12568"/>
                </a:lnTo>
                <a:lnTo>
                  <a:pt x="10425" y="12422"/>
                </a:lnTo>
                <a:lnTo>
                  <a:pt x="10425" y="12422"/>
                </a:lnTo>
                <a:lnTo>
                  <a:pt x="10230" y="12276"/>
                </a:lnTo>
                <a:lnTo>
                  <a:pt x="10035" y="12178"/>
                </a:lnTo>
                <a:lnTo>
                  <a:pt x="9840" y="12105"/>
                </a:lnTo>
                <a:lnTo>
                  <a:pt x="9621" y="12032"/>
                </a:lnTo>
                <a:lnTo>
                  <a:pt x="9402" y="11983"/>
                </a:lnTo>
                <a:lnTo>
                  <a:pt x="9183" y="11886"/>
                </a:lnTo>
                <a:lnTo>
                  <a:pt x="8988" y="11789"/>
                </a:lnTo>
                <a:lnTo>
                  <a:pt x="8793" y="11618"/>
                </a:lnTo>
                <a:lnTo>
                  <a:pt x="8793" y="11618"/>
                </a:lnTo>
                <a:lnTo>
                  <a:pt x="8623" y="11423"/>
                </a:lnTo>
                <a:lnTo>
                  <a:pt x="8525" y="11204"/>
                </a:lnTo>
                <a:lnTo>
                  <a:pt x="8452" y="10961"/>
                </a:lnTo>
                <a:lnTo>
                  <a:pt x="8428" y="10668"/>
                </a:lnTo>
                <a:lnTo>
                  <a:pt x="8428" y="10668"/>
                </a:lnTo>
                <a:lnTo>
                  <a:pt x="8452" y="10473"/>
                </a:lnTo>
                <a:lnTo>
                  <a:pt x="8476" y="10254"/>
                </a:lnTo>
                <a:lnTo>
                  <a:pt x="8549" y="10059"/>
                </a:lnTo>
                <a:lnTo>
                  <a:pt x="8623" y="9865"/>
                </a:lnTo>
                <a:lnTo>
                  <a:pt x="8720" y="9670"/>
                </a:lnTo>
                <a:lnTo>
                  <a:pt x="8842" y="9475"/>
                </a:lnTo>
                <a:lnTo>
                  <a:pt x="8988" y="9304"/>
                </a:lnTo>
                <a:lnTo>
                  <a:pt x="9134" y="9134"/>
                </a:lnTo>
                <a:lnTo>
                  <a:pt x="9134" y="9134"/>
                </a:lnTo>
                <a:lnTo>
                  <a:pt x="9304" y="8988"/>
                </a:lnTo>
                <a:lnTo>
                  <a:pt x="9475" y="8866"/>
                </a:lnTo>
                <a:lnTo>
                  <a:pt x="9645" y="8744"/>
                </a:lnTo>
                <a:lnTo>
                  <a:pt x="9840" y="8622"/>
                </a:lnTo>
                <a:lnTo>
                  <a:pt x="10035" y="8549"/>
                </a:lnTo>
                <a:lnTo>
                  <a:pt x="10254" y="8476"/>
                </a:lnTo>
                <a:lnTo>
                  <a:pt x="10474" y="8452"/>
                </a:lnTo>
                <a:lnTo>
                  <a:pt x="10668" y="8428"/>
                </a:lnTo>
                <a:lnTo>
                  <a:pt x="10668" y="8428"/>
                </a:lnTo>
                <a:lnTo>
                  <a:pt x="10936" y="8452"/>
                </a:lnTo>
                <a:lnTo>
                  <a:pt x="11180" y="8525"/>
                </a:lnTo>
                <a:lnTo>
                  <a:pt x="11423" y="8622"/>
                </a:lnTo>
                <a:lnTo>
                  <a:pt x="11618" y="8793"/>
                </a:lnTo>
                <a:lnTo>
                  <a:pt x="11618" y="8793"/>
                </a:lnTo>
                <a:lnTo>
                  <a:pt x="11789" y="8988"/>
                </a:lnTo>
                <a:lnTo>
                  <a:pt x="11910" y="9207"/>
                </a:lnTo>
                <a:lnTo>
                  <a:pt x="11984" y="9426"/>
                </a:lnTo>
                <a:lnTo>
                  <a:pt x="12057" y="9645"/>
                </a:lnTo>
                <a:lnTo>
                  <a:pt x="12105" y="9840"/>
                </a:lnTo>
                <a:lnTo>
                  <a:pt x="12178" y="10035"/>
                </a:lnTo>
                <a:lnTo>
                  <a:pt x="12276" y="10230"/>
                </a:lnTo>
                <a:lnTo>
                  <a:pt x="12422" y="10425"/>
                </a:lnTo>
                <a:lnTo>
                  <a:pt x="12422" y="10425"/>
                </a:lnTo>
                <a:lnTo>
                  <a:pt x="12568" y="10547"/>
                </a:lnTo>
                <a:lnTo>
                  <a:pt x="12714" y="10644"/>
                </a:lnTo>
                <a:lnTo>
                  <a:pt x="12860" y="10717"/>
                </a:lnTo>
                <a:lnTo>
                  <a:pt x="13006" y="10766"/>
                </a:lnTo>
                <a:lnTo>
                  <a:pt x="13177" y="10790"/>
                </a:lnTo>
                <a:lnTo>
                  <a:pt x="13323" y="10790"/>
                </a:lnTo>
                <a:lnTo>
                  <a:pt x="13469" y="10766"/>
                </a:lnTo>
                <a:lnTo>
                  <a:pt x="13615" y="10717"/>
                </a:lnTo>
                <a:lnTo>
                  <a:pt x="13786" y="10668"/>
                </a:lnTo>
                <a:lnTo>
                  <a:pt x="13932" y="10595"/>
                </a:lnTo>
                <a:lnTo>
                  <a:pt x="14224" y="10400"/>
                </a:lnTo>
                <a:lnTo>
                  <a:pt x="14516" y="10157"/>
                </a:lnTo>
                <a:lnTo>
                  <a:pt x="14784" y="9889"/>
                </a:lnTo>
                <a:lnTo>
                  <a:pt x="15052" y="9597"/>
                </a:lnTo>
                <a:lnTo>
                  <a:pt x="15271" y="9280"/>
                </a:lnTo>
                <a:lnTo>
                  <a:pt x="15491" y="8988"/>
                </a:lnTo>
                <a:lnTo>
                  <a:pt x="15661" y="8720"/>
                </a:lnTo>
                <a:lnTo>
                  <a:pt x="15929" y="8257"/>
                </a:lnTo>
                <a:lnTo>
                  <a:pt x="16002" y="8111"/>
                </a:lnTo>
                <a:lnTo>
                  <a:pt x="16026" y="8014"/>
                </a:lnTo>
                <a:lnTo>
                  <a:pt x="16026" y="8014"/>
                </a:lnTo>
                <a:lnTo>
                  <a:pt x="16002" y="7819"/>
                </a:lnTo>
                <a:lnTo>
                  <a:pt x="15953" y="7648"/>
                </a:lnTo>
                <a:lnTo>
                  <a:pt x="15856" y="7453"/>
                </a:lnTo>
                <a:lnTo>
                  <a:pt x="15734" y="7307"/>
                </a:lnTo>
                <a:lnTo>
                  <a:pt x="15734" y="7307"/>
                </a:lnTo>
                <a:lnTo>
                  <a:pt x="15442" y="7039"/>
                </a:lnTo>
                <a:lnTo>
                  <a:pt x="15150" y="6796"/>
                </a:lnTo>
                <a:lnTo>
                  <a:pt x="14614" y="6357"/>
                </a:lnTo>
                <a:lnTo>
                  <a:pt x="14127" y="5992"/>
                </a:lnTo>
                <a:lnTo>
                  <a:pt x="13932" y="5822"/>
                </a:lnTo>
                <a:lnTo>
                  <a:pt x="13737" y="5651"/>
                </a:lnTo>
                <a:lnTo>
                  <a:pt x="13615" y="5481"/>
                </a:lnTo>
                <a:lnTo>
                  <a:pt x="13494" y="5310"/>
                </a:lnTo>
                <a:lnTo>
                  <a:pt x="13445" y="5140"/>
                </a:lnTo>
                <a:lnTo>
                  <a:pt x="13445" y="4945"/>
                </a:lnTo>
                <a:lnTo>
                  <a:pt x="13494" y="4750"/>
                </a:lnTo>
                <a:lnTo>
                  <a:pt x="13591" y="4531"/>
                </a:lnTo>
                <a:lnTo>
                  <a:pt x="13761" y="4287"/>
                </a:lnTo>
                <a:lnTo>
                  <a:pt x="14029" y="4019"/>
                </a:lnTo>
                <a:lnTo>
                  <a:pt x="14029" y="4019"/>
                </a:lnTo>
                <a:close/>
              </a:path>
            </a:pathLst>
          </a:custGeom>
          <a:noFill/>
          <a:ln w="12175" cap="rnd" cmpd="sng">
            <a:solidFill>
              <a:srgbClr val="FFB60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grpSp>
        <p:nvGrpSpPr>
          <p:cNvPr id="280" name="Shape 280"/>
          <p:cNvGrpSpPr/>
          <p:nvPr/>
        </p:nvGrpSpPr>
        <p:grpSpPr>
          <a:xfrm>
            <a:off x="8142374" y="4477573"/>
            <a:ext cx="508850" cy="478710"/>
            <a:chOff x="5972700" y="2330200"/>
            <a:chExt cx="411625" cy="387275"/>
          </a:xfrm>
        </p:grpSpPr>
        <p:sp>
          <p:nvSpPr>
            <p:cNvPr id="281" name="Shape 281"/>
            <p:cNvSpPr/>
            <p:nvPr/>
          </p:nvSpPr>
          <p:spPr>
            <a:xfrm>
              <a:off x="5972700" y="2476950"/>
              <a:ext cx="98050" cy="219825"/>
            </a:xfrm>
            <a:custGeom>
              <a:avLst/>
              <a:gdLst/>
              <a:ahLst/>
              <a:cxnLst/>
              <a:rect l="0" t="0" r="0" b="0"/>
              <a:pathLst>
                <a:path w="3922" h="8793" fill="none" extrusionOk="0">
                  <a:moveTo>
                    <a:pt x="0" y="0"/>
                  </a:moveTo>
                  <a:lnTo>
                    <a:pt x="0" y="8792"/>
                  </a:lnTo>
                  <a:lnTo>
                    <a:pt x="3921" y="8792"/>
                  </a:lnTo>
                  <a:lnTo>
                    <a:pt x="3921" y="0"/>
                  </a:lnTo>
                  <a:lnTo>
                    <a:pt x="0" y="0"/>
                  </a:lnTo>
                  <a:close/>
                  <a:moveTo>
                    <a:pt x="2411" y="2411"/>
                  </a:moveTo>
                  <a:lnTo>
                    <a:pt x="2411" y="2411"/>
                  </a:lnTo>
                  <a:lnTo>
                    <a:pt x="2265" y="2387"/>
                  </a:lnTo>
                  <a:lnTo>
                    <a:pt x="2143" y="2363"/>
                  </a:lnTo>
                  <a:lnTo>
                    <a:pt x="2022" y="2290"/>
                  </a:lnTo>
                  <a:lnTo>
                    <a:pt x="1924" y="2216"/>
                  </a:lnTo>
                  <a:lnTo>
                    <a:pt x="1827" y="2095"/>
                  </a:lnTo>
                  <a:lnTo>
                    <a:pt x="1754" y="1973"/>
                  </a:lnTo>
                  <a:lnTo>
                    <a:pt x="1729" y="1851"/>
                  </a:lnTo>
                  <a:lnTo>
                    <a:pt x="1705" y="1705"/>
                  </a:lnTo>
                  <a:lnTo>
                    <a:pt x="1705" y="1705"/>
                  </a:lnTo>
                  <a:lnTo>
                    <a:pt x="1729" y="1559"/>
                  </a:lnTo>
                  <a:lnTo>
                    <a:pt x="1754" y="1437"/>
                  </a:lnTo>
                  <a:lnTo>
                    <a:pt x="1827" y="1315"/>
                  </a:lnTo>
                  <a:lnTo>
                    <a:pt x="1924" y="1218"/>
                  </a:lnTo>
                  <a:lnTo>
                    <a:pt x="2022" y="1120"/>
                  </a:lnTo>
                  <a:lnTo>
                    <a:pt x="2143" y="1072"/>
                  </a:lnTo>
                  <a:lnTo>
                    <a:pt x="2265" y="1023"/>
                  </a:lnTo>
                  <a:lnTo>
                    <a:pt x="2411" y="999"/>
                  </a:lnTo>
                  <a:lnTo>
                    <a:pt x="2411" y="999"/>
                  </a:lnTo>
                  <a:lnTo>
                    <a:pt x="2557" y="1023"/>
                  </a:lnTo>
                  <a:lnTo>
                    <a:pt x="2679" y="1072"/>
                  </a:lnTo>
                  <a:lnTo>
                    <a:pt x="2801" y="1120"/>
                  </a:lnTo>
                  <a:lnTo>
                    <a:pt x="2898" y="1218"/>
                  </a:lnTo>
                  <a:lnTo>
                    <a:pt x="2996" y="1315"/>
                  </a:lnTo>
                  <a:lnTo>
                    <a:pt x="3069" y="1437"/>
                  </a:lnTo>
                  <a:lnTo>
                    <a:pt x="3093" y="1559"/>
                  </a:lnTo>
                  <a:lnTo>
                    <a:pt x="3118" y="1705"/>
                  </a:lnTo>
                  <a:lnTo>
                    <a:pt x="3118" y="1705"/>
                  </a:lnTo>
                  <a:lnTo>
                    <a:pt x="3093" y="1851"/>
                  </a:lnTo>
                  <a:lnTo>
                    <a:pt x="3069" y="1973"/>
                  </a:lnTo>
                  <a:lnTo>
                    <a:pt x="2996" y="2095"/>
                  </a:lnTo>
                  <a:lnTo>
                    <a:pt x="2898" y="2216"/>
                  </a:lnTo>
                  <a:lnTo>
                    <a:pt x="2801" y="2290"/>
                  </a:lnTo>
                  <a:lnTo>
                    <a:pt x="2679" y="2363"/>
                  </a:lnTo>
                  <a:lnTo>
                    <a:pt x="2557" y="2387"/>
                  </a:lnTo>
                  <a:lnTo>
                    <a:pt x="2411" y="2411"/>
                  </a:lnTo>
                  <a:lnTo>
                    <a:pt x="2411" y="2411"/>
                  </a:lnTo>
                  <a:close/>
                </a:path>
              </a:pathLst>
            </a:custGeom>
            <a:noFill/>
            <a:ln w="1217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82" name="Shape 282"/>
            <p:cNvSpPr/>
            <p:nvPr/>
          </p:nvSpPr>
          <p:spPr>
            <a:xfrm>
              <a:off x="6078025" y="2330200"/>
              <a:ext cx="306300" cy="387275"/>
            </a:xfrm>
            <a:custGeom>
              <a:avLst/>
              <a:gdLst/>
              <a:ahLst/>
              <a:cxnLst/>
              <a:rect l="0" t="0" r="0" b="0"/>
              <a:pathLst>
                <a:path w="12252" h="15491" fill="none" extrusionOk="0">
                  <a:moveTo>
                    <a:pt x="1" y="13396"/>
                  </a:moveTo>
                  <a:lnTo>
                    <a:pt x="1511" y="13396"/>
                  </a:lnTo>
                  <a:lnTo>
                    <a:pt x="1511" y="13396"/>
                  </a:lnTo>
                  <a:lnTo>
                    <a:pt x="1998" y="13639"/>
                  </a:lnTo>
                  <a:lnTo>
                    <a:pt x="2680" y="13932"/>
                  </a:lnTo>
                  <a:lnTo>
                    <a:pt x="3556" y="14273"/>
                  </a:lnTo>
                  <a:lnTo>
                    <a:pt x="4531" y="14638"/>
                  </a:lnTo>
                  <a:lnTo>
                    <a:pt x="5578" y="14955"/>
                  </a:lnTo>
                  <a:lnTo>
                    <a:pt x="6114" y="15101"/>
                  </a:lnTo>
                  <a:lnTo>
                    <a:pt x="6650" y="15222"/>
                  </a:lnTo>
                  <a:lnTo>
                    <a:pt x="7161" y="15344"/>
                  </a:lnTo>
                  <a:lnTo>
                    <a:pt x="7672" y="15417"/>
                  </a:lnTo>
                  <a:lnTo>
                    <a:pt x="8135" y="15466"/>
                  </a:lnTo>
                  <a:lnTo>
                    <a:pt x="8598" y="15490"/>
                  </a:lnTo>
                  <a:lnTo>
                    <a:pt x="8598" y="15490"/>
                  </a:lnTo>
                  <a:lnTo>
                    <a:pt x="9377" y="15490"/>
                  </a:lnTo>
                  <a:lnTo>
                    <a:pt x="9791" y="15466"/>
                  </a:lnTo>
                  <a:lnTo>
                    <a:pt x="10181" y="15417"/>
                  </a:lnTo>
                  <a:lnTo>
                    <a:pt x="10522" y="15320"/>
                  </a:lnTo>
                  <a:lnTo>
                    <a:pt x="10692" y="15271"/>
                  </a:lnTo>
                  <a:lnTo>
                    <a:pt x="10814" y="15222"/>
                  </a:lnTo>
                  <a:lnTo>
                    <a:pt x="10936" y="15149"/>
                  </a:lnTo>
                  <a:lnTo>
                    <a:pt x="11033" y="15052"/>
                  </a:lnTo>
                  <a:lnTo>
                    <a:pt x="11082" y="14955"/>
                  </a:lnTo>
                  <a:lnTo>
                    <a:pt x="11131" y="14833"/>
                  </a:lnTo>
                  <a:lnTo>
                    <a:pt x="11204" y="14126"/>
                  </a:lnTo>
                  <a:lnTo>
                    <a:pt x="11204" y="14126"/>
                  </a:lnTo>
                  <a:lnTo>
                    <a:pt x="11180" y="13956"/>
                  </a:lnTo>
                  <a:lnTo>
                    <a:pt x="11131" y="13810"/>
                  </a:lnTo>
                  <a:lnTo>
                    <a:pt x="11033" y="13664"/>
                  </a:lnTo>
                  <a:lnTo>
                    <a:pt x="10887" y="13542"/>
                  </a:lnTo>
                  <a:lnTo>
                    <a:pt x="10887" y="13542"/>
                  </a:lnTo>
                  <a:lnTo>
                    <a:pt x="11009" y="13518"/>
                  </a:lnTo>
                  <a:lnTo>
                    <a:pt x="11131" y="13469"/>
                  </a:lnTo>
                  <a:lnTo>
                    <a:pt x="11253" y="13420"/>
                  </a:lnTo>
                  <a:lnTo>
                    <a:pt x="11350" y="13323"/>
                  </a:lnTo>
                  <a:lnTo>
                    <a:pt x="11423" y="13225"/>
                  </a:lnTo>
                  <a:lnTo>
                    <a:pt x="11496" y="13104"/>
                  </a:lnTo>
                  <a:lnTo>
                    <a:pt x="11545" y="12957"/>
                  </a:lnTo>
                  <a:lnTo>
                    <a:pt x="11569" y="12836"/>
                  </a:lnTo>
                  <a:lnTo>
                    <a:pt x="11642" y="11959"/>
                  </a:lnTo>
                  <a:lnTo>
                    <a:pt x="11642" y="11959"/>
                  </a:lnTo>
                  <a:lnTo>
                    <a:pt x="11642" y="11837"/>
                  </a:lnTo>
                  <a:lnTo>
                    <a:pt x="11642" y="11740"/>
                  </a:lnTo>
                  <a:lnTo>
                    <a:pt x="11618" y="11618"/>
                  </a:lnTo>
                  <a:lnTo>
                    <a:pt x="11569" y="11521"/>
                  </a:lnTo>
                  <a:lnTo>
                    <a:pt x="11447" y="11350"/>
                  </a:lnTo>
                  <a:lnTo>
                    <a:pt x="11374" y="11277"/>
                  </a:lnTo>
                  <a:lnTo>
                    <a:pt x="11301" y="11204"/>
                  </a:lnTo>
                  <a:lnTo>
                    <a:pt x="11301" y="11204"/>
                  </a:lnTo>
                  <a:lnTo>
                    <a:pt x="11423" y="11180"/>
                  </a:lnTo>
                  <a:lnTo>
                    <a:pt x="11521" y="11131"/>
                  </a:lnTo>
                  <a:lnTo>
                    <a:pt x="11618" y="11058"/>
                  </a:lnTo>
                  <a:lnTo>
                    <a:pt x="11715" y="10960"/>
                  </a:lnTo>
                  <a:lnTo>
                    <a:pt x="11788" y="10863"/>
                  </a:lnTo>
                  <a:lnTo>
                    <a:pt x="11837" y="10766"/>
                  </a:lnTo>
                  <a:lnTo>
                    <a:pt x="11886" y="10644"/>
                  </a:lnTo>
                  <a:lnTo>
                    <a:pt x="11910" y="10498"/>
                  </a:lnTo>
                  <a:lnTo>
                    <a:pt x="11983" y="9645"/>
                  </a:lnTo>
                  <a:lnTo>
                    <a:pt x="11983" y="9645"/>
                  </a:lnTo>
                  <a:lnTo>
                    <a:pt x="11983" y="9523"/>
                  </a:lnTo>
                  <a:lnTo>
                    <a:pt x="11983" y="9402"/>
                  </a:lnTo>
                  <a:lnTo>
                    <a:pt x="11959" y="9280"/>
                  </a:lnTo>
                  <a:lnTo>
                    <a:pt x="11910" y="9182"/>
                  </a:lnTo>
                  <a:lnTo>
                    <a:pt x="11861" y="9085"/>
                  </a:lnTo>
                  <a:lnTo>
                    <a:pt x="11788" y="9012"/>
                  </a:lnTo>
                  <a:lnTo>
                    <a:pt x="11715" y="8939"/>
                  </a:lnTo>
                  <a:lnTo>
                    <a:pt x="11618" y="8866"/>
                  </a:lnTo>
                  <a:lnTo>
                    <a:pt x="11618" y="8866"/>
                  </a:lnTo>
                  <a:lnTo>
                    <a:pt x="11715" y="8841"/>
                  </a:lnTo>
                  <a:lnTo>
                    <a:pt x="11813" y="8768"/>
                  </a:lnTo>
                  <a:lnTo>
                    <a:pt x="11910" y="8695"/>
                  </a:lnTo>
                  <a:lnTo>
                    <a:pt x="11983" y="8622"/>
                  </a:lnTo>
                  <a:lnTo>
                    <a:pt x="12056" y="8525"/>
                  </a:lnTo>
                  <a:lnTo>
                    <a:pt x="12105" y="8427"/>
                  </a:lnTo>
                  <a:lnTo>
                    <a:pt x="12129" y="8306"/>
                  </a:lnTo>
                  <a:lnTo>
                    <a:pt x="12154" y="8184"/>
                  </a:lnTo>
                  <a:lnTo>
                    <a:pt x="12251" y="7307"/>
                  </a:lnTo>
                  <a:lnTo>
                    <a:pt x="12251" y="7307"/>
                  </a:lnTo>
                  <a:lnTo>
                    <a:pt x="12227" y="7185"/>
                  </a:lnTo>
                  <a:lnTo>
                    <a:pt x="12202" y="7064"/>
                  </a:lnTo>
                  <a:lnTo>
                    <a:pt x="12154" y="6966"/>
                  </a:lnTo>
                  <a:lnTo>
                    <a:pt x="12105" y="6869"/>
                  </a:lnTo>
                  <a:lnTo>
                    <a:pt x="12032" y="6771"/>
                  </a:lnTo>
                  <a:lnTo>
                    <a:pt x="11935" y="6698"/>
                  </a:lnTo>
                  <a:lnTo>
                    <a:pt x="11715" y="6552"/>
                  </a:lnTo>
                  <a:lnTo>
                    <a:pt x="11472" y="6430"/>
                  </a:lnTo>
                  <a:lnTo>
                    <a:pt x="11180" y="6333"/>
                  </a:lnTo>
                  <a:lnTo>
                    <a:pt x="10863" y="6260"/>
                  </a:lnTo>
                  <a:lnTo>
                    <a:pt x="10546" y="6211"/>
                  </a:lnTo>
                  <a:lnTo>
                    <a:pt x="10546" y="6211"/>
                  </a:lnTo>
                  <a:lnTo>
                    <a:pt x="9864" y="6114"/>
                  </a:lnTo>
                  <a:lnTo>
                    <a:pt x="8817" y="6016"/>
                  </a:lnTo>
                  <a:lnTo>
                    <a:pt x="7575" y="5943"/>
                  </a:lnTo>
                  <a:lnTo>
                    <a:pt x="6309" y="5870"/>
                  </a:lnTo>
                  <a:lnTo>
                    <a:pt x="6309" y="5870"/>
                  </a:lnTo>
                  <a:lnTo>
                    <a:pt x="6479" y="5578"/>
                  </a:lnTo>
                  <a:lnTo>
                    <a:pt x="6625" y="5237"/>
                  </a:lnTo>
                  <a:lnTo>
                    <a:pt x="6771" y="4872"/>
                  </a:lnTo>
                  <a:lnTo>
                    <a:pt x="6869" y="4482"/>
                  </a:lnTo>
                  <a:lnTo>
                    <a:pt x="6966" y="4092"/>
                  </a:lnTo>
                  <a:lnTo>
                    <a:pt x="7064" y="3678"/>
                  </a:lnTo>
                  <a:lnTo>
                    <a:pt x="7161" y="2875"/>
                  </a:lnTo>
                  <a:lnTo>
                    <a:pt x="7234" y="2144"/>
                  </a:lnTo>
                  <a:lnTo>
                    <a:pt x="7283" y="1535"/>
                  </a:lnTo>
                  <a:lnTo>
                    <a:pt x="7283" y="975"/>
                  </a:lnTo>
                  <a:lnTo>
                    <a:pt x="7283" y="975"/>
                  </a:lnTo>
                  <a:lnTo>
                    <a:pt x="7283" y="804"/>
                  </a:lnTo>
                  <a:lnTo>
                    <a:pt x="7210" y="609"/>
                  </a:lnTo>
                  <a:lnTo>
                    <a:pt x="7137" y="463"/>
                  </a:lnTo>
                  <a:lnTo>
                    <a:pt x="7015" y="317"/>
                  </a:lnTo>
                  <a:lnTo>
                    <a:pt x="6869" y="171"/>
                  </a:lnTo>
                  <a:lnTo>
                    <a:pt x="6698" y="98"/>
                  </a:lnTo>
                  <a:lnTo>
                    <a:pt x="6503" y="25"/>
                  </a:lnTo>
                  <a:lnTo>
                    <a:pt x="6309" y="1"/>
                  </a:lnTo>
                  <a:lnTo>
                    <a:pt x="6309" y="1"/>
                  </a:lnTo>
                  <a:lnTo>
                    <a:pt x="5943" y="25"/>
                  </a:lnTo>
                  <a:lnTo>
                    <a:pt x="5700" y="74"/>
                  </a:lnTo>
                  <a:lnTo>
                    <a:pt x="5505" y="147"/>
                  </a:lnTo>
                  <a:lnTo>
                    <a:pt x="5359" y="220"/>
                  </a:lnTo>
                  <a:lnTo>
                    <a:pt x="5359" y="220"/>
                  </a:lnTo>
                  <a:lnTo>
                    <a:pt x="4969" y="1462"/>
                  </a:lnTo>
                  <a:lnTo>
                    <a:pt x="4774" y="2022"/>
                  </a:lnTo>
                  <a:lnTo>
                    <a:pt x="4579" y="2534"/>
                  </a:lnTo>
                  <a:lnTo>
                    <a:pt x="4385" y="2996"/>
                  </a:lnTo>
                  <a:lnTo>
                    <a:pt x="4190" y="3386"/>
                  </a:lnTo>
                  <a:lnTo>
                    <a:pt x="4019" y="3678"/>
                  </a:lnTo>
                  <a:lnTo>
                    <a:pt x="3873" y="3922"/>
                  </a:lnTo>
                  <a:lnTo>
                    <a:pt x="3873" y="3922"/>
                  </a:lnTo>
                  <a:lnTo>
                    <a:pt x="3654" y="4141"/>
                  </a:lnTo>
                  <a:lnTo>
                    <a:pt x="3313" y="4482"/>
                  </a:lnTo>
                  <a:lnTo>
                    <a:pt x="2509" y="5237"/>
                  </a:lnTo>
                  <a:lnTo>
                    <a:pt x="1438" y="6211"/>
                  </a:lnTo>
                  <a:lnTo>
                    <a:pt x="1" y="6211"/>
                  </a:lnTo>
                </a:path>
              </a:pathLst>
            </a:custGeom>
            <a:noFill/>
            <a:ln w="1217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</p:grpSp>
      <p:grpSp>
        <p:nvGrpSpPr>
          <p:cNvPr id="283" name="Shape 283"/>
          <p:cNvGrpSpPr/>
          <p:nvPr/>
        </p:nvGrpSpPr>
        <p:grpSpPr>
          <a:xfrm>
            <a:off x="545621" y="382389"/>
            <a:ext cx="398657" cy="631920"/>
            <a:chOff x="6718575" y="2318625"/>
            <a:chExt cx="256950" cy="407375"/>
          </a:xfrm>
        </p:grpSpPr>
        <p:sp>
          <p:nvSpPr>
            <p:cNvPr id="284" name="Shape 284"/>
            <p:cNvSpPr/>
            <p:nvPr/>
          </p:nvSpPr>
          <p:spPr>
            <a:xfrm>
              <a:off x="6795900" y="2673600"/>
              <a:ext cx="102300" cy="22550"/>
            </a:xfrm>
            <a:custGeom>
              <a:avLst/>
              <a:gdLst/>
              <a:ahLst/>
              <a:cxnLst/>
              <a:rect l="0" t="0" r="0" b="0"/>
              <a:pathLst>
                <a:path w="4092" h="902" fill="none" extrusionOk="0">
                  <a:moveTo>
                    <a:pt x="4092" y="902"/>
                  </a:moveTo>
                  <a:lnTo>
                    <a:pt x="4092" y="1"/>
                  </a:lnTo>
                  <a:lnTo>
                    <a:pt x="0" y="1"/>
                  </a:lnTo>
                  <a:lnTo>
                    <a:pt x="0" y="902"/>
                  </a:lnTo>
                  <a:lnTo>
                    <a:pt x="4092" y="902"/>
                  </a:lnTo>
                  <a:close/>
                </a:path>
              </a:pathLst>
            </a:custGeom>
            <a:noFill/>
            <a:ln w="12175" cap="rnd" cmpd="sng">
              <a:solidFill>
                <a:srgbClr val="02BDC7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85" name="Shape 285"/>
            <p:cNvSpPr/>
            <p:nvPr/>
          </p:nvSpPr>
          <p:spPr>
            <a:xfrm>
              <a:off x="6795900" y="2650475"/>
              <a:ext cx="102300" cy="22550"/>
            </a:xfrm>
            <a:custGeom>
              <a:avLst/>
              <a:gdLst/>
              <a:ahLst/>
              <a:cxnLst/>
              <a:rect l="0" t="0" r="0" b="0"/>
              <a:pathLst>
                <a:path w="4092" h="902" fill="none" extrusionOk="0">
                  <a:moveTo>
                    <a:pt x="4092" y="901"/>
                  </a:moveTo>
                  <a:lnTo>
                    <a:pt x="4092" y="0"/>
                  </a:lnTo>
                  <a:lnTo>
                    <a:pt x="0" y="0"/>
                  </a:lnTo>
                  <a:lnTo>
                    <a:pt x="0" y="901"/>
                  </a:lnTo>
                  <a:lnTo>
                    <a:pt x="4092" y="901"/>
                  </a:lnTo>
                  <a:close/>
                </a:path>
              </a:pathLst>
            </a:custGeom>
            <a:noFill/>
            <a:ln w="12175" cap="rnd" cmpd="sng">
              <a:solidFill>
                <a:srgbClr val="02BDC7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86" name="Shape 286"/>
            <p:cNvSpPr/>
            <p:nvPr/>
          </p:nvSpPr>
          <p:spPr>
            <a:xfrm>
              <a:off x="6795900" y="2696125"/>
              <a:ext cx="102300" cy="29875"/>
            </a:xfrm>
            <a:custGeom>
              <a:avLst/>
              <a:gdLst/>
              <a:ahLst/>
              <a:cxnLst/>
              <a:rect l="0" t="0" r="0" b="0"/>
              <a:pathLst>
                <a:path w="4092" h="1195" fill="none" extrusionOk="0">
                  <a:moveTo>
                    <a:pt x="0" y="1"/>
                  </a:moveTo>
                  <a:lnTo>
                    <a:pt x="0" y="171"/>
                  </a:lnTo>
                  <a:lnTo>
                    <a:pt x="0" y="171"/>
                  </a:lnTo>
                  <a:lnTo>
                    <a:pt x="24" y="318"/>
                  </a:lnTo>
                  <a:lnTo>
                    <a:pt x="98" y="464"/>
                  </a:lnTo>
                  <a:lnTo>
                    <a:pt x="195" y="585"/>
                  </a:lnTo>
                  <a:lnTo>
                    <a:pt x="341" y="659"/>
                  </a:lnTo>
                  <a:lnTo>
                    <a:pt x="1875" y="1170"/>
                  </a:lnTo>
                  <a:lnTo>
                    <a:pt x="1875" y="1170"/>
                  </a:lnTo>
                  <a:lnTo>
                    <a:pt x="2046" y="1194"/>
                  </a:lnTo>
                  <a:lnTo>
                    <a:pt x="2046" y="1194"/>
                  </a:lnTo>
                  <a:lnTo>
                    <a:pt x="2216" y="1170"/>
                  </a:lnTo>
                  <a:lnTo>
                    <a:pt x="3751" y="659"/>
                  </a:lnTo>
                  <a:lnTo>
                    <a:pt x="3751" y="659"/>
                  </a:lnTo>
                  <a:lnTo>
                    <a:pt x="3897" y="585"/>
                  </a:lnTo>
                  <a:lnTo>
                    <a:pt x="3994" y="464"/>
                  </a:lnTo>
                  <a:lnTo>
                    <a:pt x="4067" y="318"/>
                  </a:lnTo>
                  <a:lnTo>
                    <a:pt x="4092" y="171"/>
                  </a:lnTo>
                  <a:lnTo>
                    <a:pt x="4092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12175" cap="rnd" cmpd="sng">
              <a:solidFill>
                <a:srgbClr val="02BDC7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87" name="Shape 287"/>
            <p:cNvSpPr/>
            <p:nvPr/>
          </p:nvSpPr>
          <p:spPr>
            <a:xfrm>
              <a:off x="6784925" y="2459275"/>
              <a:ext cx="35350" cy="166875"/>
            </a:xfrm>
            <a:custGeom>
              <a:avLst/>
              <a:gdLst/>
              <a:ahLst/>
              <a:cxnLst/>
              <a:rect l="0" t="0" r="0" b="0"/>
              <a:pathLst>
                <a:path w="1414" h="6675" fill="none" extrusionOk="0">
                  <a:moveTo>
                    <a:pt x="1413" y="6674"/>
                  </a:moveTo>
                  <a:lnTo>
                    <a:pt x="1413" y="6674"/>
                  </a:lnTo>
                  <a:lnTo>
                    <a:pt x="585" y="2850"/>
                  </a:lnTo>
                  <a:lnTo>
                    <a:pt x="1" y="1"/>
                  </a:lnTo>
                </a:path>
              </a:pathLst>
            </a:custGeom>
            <a:noFill/>
            <a:ln w="12175" cap="rnd" cmpd="sng">
              <a:solidFill>
                <a:srgbClr val="02BDC7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88" name="Shape 288"/>
            <p:cNvSpPr/>
            <p:nvPr/>
          </p:nvSpPr>
          <p:spPr>
            <a:xfrm>
              <a:off x="6718575" y="2318625"/>
              <a:ext cx="256950" cy="307525"/>
            </a:xfrm>
            <a:custGeom>
              <a:avLst/>
              <a:gdLst/>
              <a:ahLst/>
              <a:cxnLst/>
              <a:rect l="0" t="0" r="0" b="0"/>
              <a:pathLst>
                <a:path w="10278" h="12301" fill="none" extrusionOk="0">
                  <a:moveTo>
                    <a:pt x="7185" y="12300"/>
                  </a:moveTo>
                  <a:lnTo>
                    <a:pt x="7185" y="12300"/>
                  </a:lnTo>
                  <a:lnTo>
                    <a:pt x="7307" y="11764"/>
                  </a:lnTo>
                  <a:lnTo>
                    <a:pt x="7477" y="11253"/>
                  </a:lnTo>
                  <a:lnTo>
                    <a:pt x="7672" y="10766"/>
                  </a:lnTo>
                  <a:lnTo>
                    <a:pt x="7891" y="10327"/>
                  </a:lnTo>
                  <a:lnTo>
                    <a:pt x="8135" y="9913"/>
                  </a:lnTo>
                  <a:lnTo>
                    <a:pt x="8378" y="9499"/>
                  </a:lnTo>
                  <a:lnTo>
                    <a:pt x="8914" y="8720"/>
                  </a:lnTo>
                  <a:lnTo>
                    <a:pt x="9182" y="8330"/>
                  </a:lnTo>
                  <a:lnTo>
                    <a:pt x="9425" y="7941"/>
                  </a:lnTo>
                  <a:lnTo>
                    <a:pt x="9645" y="7551"/>
                  </a:lnTo>
                  <a:lnTo>
                    <a:pt x="9864" y="7113"/>
                  </a:lnTo>
                  <a:lnTo>
                    <a:pt x="10034" y="6674"/>
                  </a:lnTo>
                  <a:lnTo>
                    <a:pt x="10156" y="6187"/>
                  </a:lnTo>
                  <a:lnTo>
                    <a:pt x="10229" y="5676"/>
                  </a:lnTo>
                  <a:lnTo>
                    <a:pt x="10253" y="5408"/>
                  </a:lnTo>
                  <a:lnTo>
                    <a:pt x="10278" y="5140"/>
                  </a:lnTo>
                  <a:lnTo>
                    <a:pt x="10278" y="5140"/>
                  </a:lnTo>
                  <a:lnTo>
                    <a:pt x="10229" y="4604"/>
                  </a:lnTo>
                  <a:lnTo>
                    <a:pt x="10156" y="4093"/>
                  </a:lnTo>
                  <a:lnTo>
                    <a:pt x="10034" y="3605"/>
                  </a:lnTo>
                  <a:lnTo>
                    <a:pt x="9864" y="3143"/>
                  </a:lnTo>
                  <a:lnTo>
                    <a:pt x="9645" y="2680"/>
                  </a:lnTo>
                  <a:lnTo>
                    <a:pt x="9401" y="2266"/>
                  </a:lnTo>
                  <a:lnTo>
                    <a:pt x="9084" y="1876"/>
                  </a:lnTo>
                  <a:lnTo>
                    <a:pt x="8768" y="1511"/>
                  </a:lnTo>
                  <a:lnTo>
                    <a:pt x="8402" y="1170"/>
                  </a:lnTo>
                  <a:lnTo>
                    <a:pt x="8013" y="878"/>
                  </a:lnTo>
                  <a:lnTo>
                    <a:pt x="7574" y="634"/>
                  </a:lnTo>
                  <a:lnTo>
                    <a:pt x="7136" y="415"/>
                  </a:lnTo>
                  <a:lnTo>
                    <a:pt x="6673" y="244"/>
                  </a:lnTo>
                  <a:lnTo>
                    <a:pt x="6162" y="98"/>
                  </a:lnTo>
                  <a:lnTo>
                    <a:pt x="5675" y="25"/>
                  </a:lnTo>
                  <a:lnTo>
                    <a:pt x="5139" y="1"/>
                  </a:lnTo>
                  <a:lnTo>
                    <a:pt x="5139" y="1"/>
                  </a:lnTo>
                  <a:lnTo>
                    <a:pt x="4603" y="25"/>
                  </a:lnTo>
                  <a:lnTo>
                    <a:pt x="4116" y="98"/>
                  </a:lnTo>
                  <a:lnTo>
                    <a:pt x="3605" y="244"/>
                  </a:lnTo>
                  <a:lnTo>
                    <a:pt x="3142" y="415"/>
                  </a:lnTo>
                  <a:lnTo>
                    <a:pt x="2703" y="634"/>
                  </a:lnTo>
                  <a:lnTo>
                    <a:pt x="2265" y="878"/>
                  </a:lnTo>
                  <a:lnTo>
                    <a:pt x="1875" y="1170"/>
                  </a:lnTo>
                  <a:lnTo>
                    <a:pt x="1510" y="1511"/>
                  </a:lnTo>
                  <a:lnTo>
                    <a:pt x="1193" y="1876"/>
                  </a:lnTo>
                  <a:lnTo>
                    <a:pt x="877" y="2266"/>
                  </a:lnTo>
                  <a:lnTo>
                    <a:pt x="633" y="2680"/>
                  </a:lnTo>
                  <a:lnTo>
                    <a:pt x="414" y="3143"/>
                  </a:lnTo>
                  <a:lnTo>
                    <a:pt x="244" y="3605"/>
                  </a:lnTo>
                  <a:lnTo>
                    <a:pt x="122" y="4093"/>
                  </a:lnTo>
                  <a:lnTo>
                    <a:pt x="49" y="4604"/>
                  </a:lnTo>
                  <a:lnTo>
                    <a:pt x="0" y="5140"/>
                  </a:lnTo>
                  <a:lnTo>
                    <a:pt x="0" y="5140"/>
                  </a:lnTo>
                  <a:lnTo>
                    <a:pt x="24" y="5408"/>
                  </a:lnTo>
                  <a:lnTo>
                    <a:pt x="49" y="5676"/>
                  </a:lnTo>
                  <a:lnTo>
                    <a:pt x="122" y="6187"/>
                  </a:lnTo>
                  <a:lnTo>
                    <a:pt x="244" y="6674"/>
                  </a:lnTo>
                  <a:lnTo>
                    <a:pt x="414" y="7113"/>
                  </a:lnTo>
                  <a:lnTo>
                    <a:pt x="633" y="7551"/>
                  </a:lnTo>
                  <a:lnTo>
                    <a:pt x="852" y="7941"/>
                  </a:lnTo>
                  <a:lnTo>
                    <a:pt x="1096" y="8330"/>
                  </a:lnTo>
                  <a:lnTo>
                    <a:pt x="1364" y="8720"/>
                  </a:lnTo>
                  <a:lnTo>
                    <a:pt x="1900" y="9499"/>
                  </a:lnTo>
                  <a:lnTo>
                    <a:pt x="2143" y="9913"/>
                  </a:lnTo>
                  <a:lnTo>
                    <a:pt x="2387" y="10327"/>
                  </a:lnTo>
                  <a:lnTo>
                    <a:pt x="2606" y="10766"/>
                  </a:lnTo>
                  <a:lnTo>
                    <a:pt x="2801" y="11253"/>
                  </a:lnTo>
                  <a:lnTo>
                    <a:pt x="2971" y="11764"/>
                  </a:lnTo>
                  <a:lnTo>
                    <a:pt x="3093" y="12300"/>
                  </a:lnTo>
                </a:path>
              </a:pathLst>
            </a:custGeom>
            <a:noFill/>
            <a:ln w="12175" cap="rnd" cmpd="sng">
              <a:solidFill>
                <a:srgbClr val="02BDC7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89" name="Shape 289"/>
            <p:cNvSpPr/>
            <p:nvPr/>
          </p:nvSpPr>
          <p:spPr>
            <a:xfrm>
              <a:off x="6873825" y="2459275"/>
              <a:ext cx="35350" cy="166875"/>
            </a:xfrm>
            <a:custGeom>
              <a:avLst/>
              <a:gdLst/>
              <a:ahLst/>
              <a:cxnLst/>
              <a:rect l="0" t="0" r="0" b="0"/>
              <a:pathLst>
                <a:path w="1414" h="6675" fill="none" extrusionOk="0">
                  <a:moveTo>
                    <a:pt x="1413" y="1"/>
                  </a:moveTo>
                  <a:lnTo>
                    <a:pt x="1413" y="1"/>
                  </a:lnTo>
                  <a:lnTo>
                    <a:pt x="829" y="2850"/>
                  </a:lnTo>
                  <a:lnTo>
                    <a:pt x="1" y="6674"/>
                  </a:lnTo>
                </a:path>
              </a:pathLst>
            </a:custGeom>
            <a:noFill/>
            <a:ln w="12175" cap="rnd" cmpd="sng">
              <a:solidFill>
                <a:srgbClr val="02BDC7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90" name="Shape 290"/>
            <p:cNvSpPr/>
            <p:nvPr/>
          </p:nvSpPr>
          <p:spPr>
            <a:xfrm>
              <a:off x="6801975" y="2453200"/>
              <a:ext cx="90150" cy="19500"/>
            </a:xfrm>
            <a:custGeom>
              <a:avLst/>
              <a:gdLst/>
              <a:ahLst/>
              <a:cxnLst/>
              <a:rect l="0" t="0" r="0" b="0"/>
              <a:pathLst>
                <a:path w="3606" h="780" fill="none" extrusionOk="0">
                  <a:moveTo>
                    <a:pt x="1" y="73"/>
                  </a:moveTo>
                  <a:lnTo>
                    <a:pt x="829" y="780"/>
                  </a:lnTo>
                  <a:lnTo>
                    <a:pt x="1657" y="73"/>
                  </a:lnTo>
                  <a:lnTo>
                    <a:pt x="1657" y="73"/>
                  </a:lnTo>
                  <a:lnTo>
                    <a:pt x="1730" y="25"/>
                  </a:lnTo>
                  <a:lnTo>
                    <a:pt x="1803" y="0"/>
                  </a:lnTo>
                  <a:lnTo>
                    <a:pt x="1876" y="25"/>
                  </a:lnTo>
                  <a:lnTo>
                    <a:pt x="1949" y="73"/>
                  </a:lnTo>
                  <a:lnTo>
                    <a:pt x="2777" y="780"/>
                  </a:lnTo>
                  <a:lnTo>
                    <a:pt x="3605" y="73"/>
                  </a:lnTo>
                </a:path>
              </a:pathLst>
            </a:custGeom>
            <a:noFill/>
            <a:ln w="12175" cap="rnd" cmpd="sng">
              <a:solidFill>
                <a:srgbClr val="02BDC7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91" name="Shape 291"/>
            <p:cNvSpPr/>
            <p:nvPr/>
          </p:nvSpPr>
          <p:spPr>
            <a:xfrm>
              <a:off x="6795900" y="2628550"/>
              <a:ext cx="102300" cy="25"/>
            </a:xfrm>
            <a:custGeom>
              <a:avLst/>
              <a:gdLst/>
              <a:ahLst/>
              <a:cxnLst/>
              <a:rect l="0" t="0" r="0" b="0"/>
              <a:pathLst>
                <a:path w="4092" h="1" fill="none" extrusionOk="0">
                  <a:moveTo>
                    <a:pt x="0" y="1"/>
                  </a:moveTo>
                  <a:lnTo>
                    <a:pt x="4092" y="1"/>
                  </a:lnTo>
                </a:path>
              </a:pathLst>
            </a:custGeom>
            <a:noFill/>
            <a:ln w="12175" cap="rnd" cmpd="sng">
              <a:solidFill>
                <a:srgbClr val="02BDC7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Nội dung với Chú thí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E81B6E14-2FC0-4329-AA81-B13F8BADA8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AA25EEB4-DF7C-4909-A4FF-EA1AF82D2F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vi-VN"/>
              <a:t>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4" name="Chỗ dành sẵn cho Văn bản 3">
            <a:extLst>
              <a:ext uri="{FF2B5EF4-FFF2-40B4-BE49-F238E27FC236}">
                <a16:creationId xmlns:a16="http://schemas.microsoft.com/office/drawing/2014/main" id="{BC9ECBCE-DF8C-49A3-AE1D-41BA6044C9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vi-VN"/>
              <a:t>Chỉnh sửa kiểu văn bản của Bản cái</a:t>
            </a:r>
          </a:p>
        </p:txBody>
      </p:sp>
      <p:sp>
        <p:nvSpPr>
          <p:cNvPr id="5" name="Chỗ dành sẵn cho Ngày tháng 4">
            <a:extLst>
              <a:ext uri="{FF2B5EF4-FFF2-40B4-BE49-F238E27FC236}">
                <a16:creationId xmlns:a16="http://schemas.microsoft.com/office/drawing/2014/main" id="{D9E638CE-6960-43C1-BE68-8D308D20A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52DDD-97E1-4DCD-992F-C937C05EE37C}" type="datetimeFigureOut">
              <a:rPr lang="en-US" smtClean="0"/>
              <a:t>1/1/2022</a:t>
            </a:fld>
            <a:endParaRPr lang="en-US"/>
          </a:p>
        </p:txBody>
      </p:sp>
      <p:sp>
        <p:nvSpPr>
          <p:cNvPr id="6" name="Chỗ dành sẵn cho Chân trang 5">
            <a:extLst>
              <a:ext uri="{FF2B5EF4-FFF2-40B4-BE49-F238E27FC236}">
                <a16:creationId xmlns:a16="http://schemas.microsoft.com/office/drawing/2014/main" id="{BD135ED8-9C46-48B0-A2C7-FDB7DF6ACB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hỗ dành sẵn cho Số hiệu Bản chiếu 6">
            <a:extLst>
              <a:ext uri="{FF2B5EF4-FFF2-40B4-BE49-F238E27FC236}">
                <a16:creationId xmlns:a16="http://schemas.microsoft.com/office/drawing/2014/main" id="{65116C6E-7161-49C1-96A5-8B3E6FE524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617C1-1328-440D-8C49-CFFC098ABD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387060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̉nh với Chú thí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74EA52D9-51F4-4BDD-9B86-EEC56B9B2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Hình ảnh 2">
            <a:extLst>
              <a:ext uri="{FF2B5EF4-FFF2-40B4-BE49-F238E27FC236}">
                <a16:creationId xmlns:a16="http://schemas.microsoft.com/office/drawing/2014/main" id="{A92FB95D-3A8B-4C64-813D-170D990A914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Chỗ dành sẵn cho Văn bản 3">
            <a:extLst>
              <a:ext uri="{FF2B5EF4-FFF2-40B4-BE49-F238E27FC236}">
                <a16:creationId xmlns:a16="http://schemas.microsoft.com/office/drawing/2014/main" id="{668AA75E-640D-473D-8096-EA6D568823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vi-VN"/>
              <a:t>Chỉnh sửa kiểu văn bản của Bản cái</a:t>
            </a:r>
          </a:p>
        </p:txBody>
      </p:sp>
      <p:sp>
        <p:nvSpPr>
          <p:cNvPr id="5" name="Chỗ dành sẵn cho Ngày tháng 4">
            <a:extLst>
              <a:ext uri="{FF2B5EF4-FFF2-40B4-BE49-F238E27FC236}">
                <a16:creationId xmlns:a16="http://schemas.microsoft.com/office/drawing/2014/main" id="{CE8D9648-F27B-4F11-AF06-1C54AE0A87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52DDD-97E1-4DCD-992F-C937C05EE37C}" type="datetimeFigureOut">
              <a:rPr lang="en-US" smtClean="0"/>
              <a:t>1/1/2022</a:t>
            </a:fld>
            <a:endParaRPr lang="en-US"/>
          </a:p>
        </p:txBody>
      </p:sp>
      <p:sp>
        <p:nvSpPr>
          <p:cNvPr id="6" name="Chỗ dành sẵn cho Chân trang 5">
            <a:extLst>
              <a:ext uri="{FF2B5EF4-FFF2-40B4-BE49-F238E27FC236}">
                <a16:creationId xmlns:a16="http://schemas.microsoft.com/office/drawing/2014/main" id="{FCEFD857-3C65-4719-9251-AD272D2532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hỗ dành sẵn cho Số hiệu Bản chiếu 6">
            <a:extLst>
              <a:ext uri="{FF2B5EF4-FFF2-40B4-BE49-F238E27FC236}">
                <a16:creationId xmlns:a16="http://schemas.microsoft.com/office/drawing/2014/main" id="{866922BE-455F-4327-9478-479F286055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617C1-1328-440D-8C49-CFFC098ABD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621780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êu đề và Văn bản Dọ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54C787C0-78FE-4189-BF87-CB897521C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Văn bản Dọc 2">
            <a:extLst>
              <a:ext uri="{FF2B5EF4-FFF2-40B4-BE49-F238E27FC236}">
                <a16:creationId xmlns:a16="http://schemas.microsoft.com/office/drawing/2014/main" id="{E7F2D916-D953-4E1F-A445-1254861725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vi-VN"/>
              <a:t>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4" name="Chỗ dành sẵn cho Ngày tháng 3">
            <a:extLst>
              <a:ext uri="{FF2B5EF4-FFF2-40B4-BE49-F238E27FC236}">
                <a16:creationId xmlns:a16="http://schemas.microsoft.com/office/drawing/2014/main" id="{4CC63736-A458-4BE4-9840-EC5C07C0D3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52DDD-97E1-4DCD-992F-C937C05EE37C}" type="datetimeFigureOut">
              <a:rPr lang="en-US" smtClean="0"/>
              <a:t>1/1/2022</a:t>
            </a:fld>
            <a:endParaRPr lang="en-US"/>
          </a:p>
        </p:txBody>
      </p:sp>
      <p:sp>
        <p:nvSpPr>
          <p:cNvPr id="5" name="Chỗ dành sẵn cho Chân trang 4">
            <a:extLst>
              <a:ext uri="{FF2B5EF4-FFF2-40B4-BE49-F238E27FC236}">
                <a16:creationId xmlns:a16="http://schemas.microsoft.com/office/drawing/2014/main" id="{66F81CE0-B01E-4D0D-A79D-94119DF127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hỗ dành sẵn cho Số hiệu Bản chiếu 5">
            <a:extLst>
              <a:ext uri="{FF2B5EF4-FFF2-40B4-BE49-F238E27FC236}">
                <a16:creationId xmlns:a16="http://schemas.microsoft.com/office/drawing/2014/main" id="{E0EBF1AF-DA89-4D4A-9E5B-519E954CE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617C1-1328-440D-8C49-CFFC098ABD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6730595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êu đề Dọc và Văn bả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Dọc 1">
            <a:extLst>
              <a:ext uri="{FF2B5EF4-FFF2-40B4-BE49-F238E27FC236}">
                <a16:creationId xmlns:a16="http://schemas.microsoft.com/office/drawing/2014/main" id="{6611296C-9B37-4198-BCB4-E4F0F9DE59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Văn bản Dọc 2">
            <a:extLst>
              <a:ext uri="{FF2B5EF4-FFF2-40B4-BE49-F238E27FC236}">
                <a16:creationId xmlns:a16="http://schemas.microsoft.com/office/drawing/2014/main" id="{23152B78-70DA-47D8-AF84-77BCA3E24EA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vi-VN"/>
              <a:t>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4" name="Chỗ dành sẵn cho Ngày tháng 3">
            <a:extLst>
              <a:ext uri="{FF2B5EF4-FFF2-40B4-BE49-F238E27FC236}">
                <a16:creationId xmlns:a16="http://schemas.microsoft.com/office/drawing/2014/main" id="{548A6D7C-DE09-4617-9774-606FD2582D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52DDD-97E1-4DCD-992F-C937C05EE37C}" type="datetimeFigureOut">
              <a:rPr lang="en-US" smtClean="0"/>
              <a:t>1/1/2022</a:t>
            </a:fld>
            <a:endParaRPr lang="en-US"/>
          </a:p>
        </p:txBody>
      </p:sp>
      <p:sp>
        <p:nvSpPr>
          <p:cNvPr id="5" name="Chỗ dành sẵn cho Chân trang 4">
            <a:extLst>
              <a:ext uri="{FF2B5EF4-FFF2-40B4-BE49-F238E27FC236}">
                <a16:creationId xmlns:a16="http://schemas.microsoft.com/office/drawing/2014/main" id="{B32A2152-7D06-4EBB-AE24-0BCDA9CE6C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hỗ dành sẵn cho Số hiệu Bản chiếu 5">
            <a:extLst>
              <a:ext uri="{FF2B5EF4-FFF2-40B4-BE49-F238E27FC236}">
                <a16:creationId xmlns:a16="http://schemas.microsoft.com/office/drawing/2014/main" id="{26B0F0AB-A097-4D10-B484-C542B7CC6E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617C1-1328-440D-8C49-CFFC098ABD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9837062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êu đề và Nội d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0B63B185-4F70-439A-8C4F-3181894CF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D9CA2812-6C47-476A-843D-54A566829D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vi-VN"/>
              <a:t>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4" name="Chỗ dành sẵn cho Ngày tháng 3">
            <a:extLst>
              <a:ext uri="{FF2B5EF4-FFF2-40B4-BE49-F238E27FC236}">
                <a16:creationId xmlns:a16="http://schemas.microsoft.com/office/drawing/2014/main" id="{A79D13D7-573B-4D0A-A420-B9FC2C96A0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52DDD-97E1-4DCD-992F-C937C05EE37C}" type="datetimeFigureOut">
              <a:rPr lang="en-US" smtClean="0"/>
              <a:t>1/1/2022</a:t>
            </a:fld>
            <a:endParaRPr lang="en-US"/>
          </a:p>
        </p:txBody>
      </p:sp>
      <p:sp>
        <p:nvSpPr>
          <p:cNvPr id="5" name="Chỗ dành sẵn cho Chân trang 4">
            <a:extLst>
              <a:ext uri="{FF2B5EF4-FFF2-40B4-BE49-F238E27FC236}">
                <a16:creationId xmlns:a16="http://schemas.microsoft.com/office/drawing/2014/main" id="{41F33609-7818-4B4D-AB34-7F7BDB2E3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hỗ dành sẵn cho Số hiệu Bản chiếu 5">
            <a:extLst>
              <a:ext uri="{FF2B5EF4-FFF2-40B4-BE49-F238E27FC236}">
                <a16:creationId xmlns:a16="http://schemas.microsoft.com/office/drawing/2014/main" id="{E90A3CA7-640B-4436-866C-42920CDF0F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617C1-1328-440D-8C49-CFFC098ABD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591969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êu đề Bản chiế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2B7F3D41-FDCB-4AD8-8EB4-7E442BF504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Tiêu đề phụ 2">
            <a:extLst>
              <a:ext uri="{FF2B5EF4-FFF2-40B4-BE49-F238E27FC236}">
                <a16:creationId xmlns:a16="http://schemas.microsoft.com/office/drawing/2014/main" id="{9B65AC16-42F8-4476-B126-0FDB9CE7F5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vi-VN"/>
              <a:t>Bấm để chỉnh sửa kiểu phụ đề của Bản cái</a:t>
            </a:r>
            <a:endParaRPr lang="en-US"/>
          </a:p>
        </p:txBody>
      </p:sp>
      <p:sp>
        <p:nvSpPr>
          <p:cNvPr id="4" name="Chỗ dành sẵn cho Ngày tháng 3">
            <a:extLst>
              <a:ext uri="{FF2B5EF4-FFF2-40B4-BE49-F238E27FC236}">
                <a16:creationId xmlns:a16="http://schemas.microsoft.com/office/drawing/2014/main" id="{04AEF2F1-4B34-4F70-8638-5BA86478CC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52DDD-97E1-4DCD-992F-C937C05EE37C}" type="datetimeFigureOut">
              <a:rPr lang="en-US" smtClean="0"/>
              <a:t>1/1/2022</a:t>
            </a:fld>
            <a:endParaRPr lang="en-US"/>
          </a:p>
        </p:txBody>
      </p:sp>
      <p:sp>
        <p:nvSpPr>
          <p:cNvPr id="5" name="Chỗ dành sẵn cho Chân trang 4">
            <a:extLst>
              <a:ext uri="{FF2B5EF4-FFF2-40B4-BE49-F238E27FC236}">
                <a16:creationId xmlns:a16="http://schemas.microsoft.com/office/drawing/2014/main" id="{2B14142D-CDB4-4482-966C-5C427A53CA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hỗ dành sẵn cho Số hiệu Bản chiếu 5">
            <a:extLst>
              <a:ext uri="{FF2B5EF4-FFF2-40B4-BE49-F238E27FC236}">
                <a16:creationId xmlns:a16="http://schemas.microsoft.com/office/drawing/2014/main" id="{21C54444-1352-4DCB-8A0E-E727F5037A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617C1-1328-440D-8C49-CFFC098ABD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033161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êu đề và Nội d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0B63B185-4F70-439A-8C4F-3181894CF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D9CA2812-6C47-476A-843D-54A566829D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vi-VN"/>
              <a:t>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4" name="Chỗ dành sẵn cho Ngày tháng 3">
            <a:extLst>
              <a:ext uri="{FF2B5EF4-FFF2-40B4-BE49-F238E27FC236}">
                <a16:creationId xmlns:a16="http://schemas.microsoft.com/office/drawing/2014/main" id="{A79D13D7-573B-4D0A-A420-B9FC2C96A0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52DDD-97E1-4DCD-992F-C937C05EE37C}" type="datetimeFigureOut">
              <a:rPr lang="en-US" smtClean="0"/>
              <a:t>1/1/2022</a:t>
            </a:fld>
            <a:endParaRPr lang="en-US"/>
          </a:p>
        </p:txBody>
      </p:sp>
      <p:sp>
        <p:nvSpPr>
          <p:cNvPr id="5" name="Chỗ dành sẵn cho Chân trang 4">
            <a:extLst>
              <a:ext uri="{FF2B5EF4-FFF2-40B4-BE49-F238E27FC236}">
                <a16:creationId xmlns:a16="http://schemas.microsoft.com/office/drawing/2014/main" id="{41F33609-7818-4B4D-AB34-7F7BDB2E3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hỗ dành sẵn cho Số hiệu Bản chiếu 5">
            <a:extLst>
              <a:ext uri="{FF2B5EF4-FFF2-40B4-BE49-F238E27FC236}">
                <a16:creationId xmlns:a16="http://schemas.microsoft.com/office/drawing/2014/main" id="{E90A3CA7-640B-4436-866C-42920CDF0F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617C1-1328-440D-8C49-CFFC098ABD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110984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Đầu trang của Phầ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D575F472-FEA0-431C-9385-5FE9CC969F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Văn bản 2">
            <a:extLst>
              <a:ext uri="{FF2B5EF4-FFF2-40B4-BE49-F238E27FC236}">
                <a16:creationId xmlns:a16="http://schemas.microsoft.com/office/drawing/2014/main" id="{2DA84A57-CA69-4089-A08B-33562693A0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vi-VN"/>
              <a:t>Chỉnh sửa kiểu văn bản của Bản cái</a:t>
            </a:r>
          </a:p>
        </p:txBody>
      </p:sp>
      <p:sp>
        <p:nvSpPr>
          <p:cNvPr id="4" name="Chỗ dành sẵn cho Ngày tháng 3">
            <a:extLst>
              <a:ext uri="{FF2B5EF4-FFF2-40B4-BE49-F238E27FC236}">
                <a16:creationId xmlns:a16="http://schemas.microsoft.com/office/drawing/2014/main" id="{7CDE10F9-74D4-4A4C-9CCD-6351DC6124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52DDD-97E1-4DCD-992F-C937C05EE37C}" type="datetimeFigureOut">
              <a:rPr lang="en-US" smtClean="0"/>
              <a:t>1/1/2022</a:t>
            </a:fld>
            <a:endParaRPr lang="en-US"/>
          </a:p>
        </p:txBody>
      </p:sp>
      <p:sp>
        <p:nvSpPr>
          <p:cNvPr id="5" name="Chỗ dành sẵn cho Chân trang 4">
            <a:extLst>
              <a:ext uri="{FF2B5EF4-FFF2-40B4-BE49-F238E27FC236}">
                <a16:creationId xmlns:a16="http://schemas.microsoft.com/office/drawing/2014/main" id="{860E7817-2A5D-465B-B998-C0E5B9E8FA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hỗ dành sẵn cho Số hiệu Bản chiếu 5">
            <a:extLst>
              <a:ext uri="{FF2B5EF4-FFF2-40B4-BE49-F238E27FC236}">
                <a16:creationId xmlns:a16="http://schemas.microsoft.com/office/drawing/2014/main" id="{DE09EA86-6A2C-4966-AE85-CDD991E505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617C1-1328-440D-8C49-CFFC098ABD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7718934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i Nội d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19AFA04E-C70D-4D86-BD9A-17D16E9297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5741A26B-A172-41D9-A4B1-BA61A6892F5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vi-VN"/>
              <a:t>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4" name="Chỗ dành sẵn cho Nội dung 3">
            <a:extLst>
              <a:ext uri="{FF2B5EF4-FFF2-40B4-BE49-F238E27FC236}">
                <a16:creationId xmlns:a16="http://schemas.microsoft.com/office/drawing/2014/main" id="{E0D7D2D9-7596-4D19-A80B-69928C50CD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vi-VN"/>
              <a:t>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5" name="Chỗ dành sẵn cho Ngày tháng 4">
            <a:extLst>
              <a:ext uri="{FF2B5EF4-FFF2-40B4-BE49-F238E27FC236}">
                <a16:creationId xmlns:a16="http://schemas.microsoft.com/office/drawing/2014/main" id="{FE1CD764-F00B-4896-AF56-CD9F50B966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52DDD-97E1-4DCD-992F-C937C05EE37C}" type="datetimeFigureOut">
              <a:rPr lang="en-US" smtClean="0"/>
              <a:t>1/1/2022</a:t>
            </a:fld>
            <a:endParaRPr lang="en-US"/>
          </a:p>
        </p:txBody>
      </p:sp>
      <p:sp>
        <p:nvSpPr>
          <p:cNvPr id="6" name="Chỗ dành sẵn cho Chân trang 5">
            <a:extLst>
              <a:ext uri="{FF2B5EF4-FFF2-40B4-BE49-F238E27FC236}">
                <a16:creationId xmlns:a16="http://schemas.microsoft.com/office/drawing/2014/main" id="{93F68F95-35F2-42DA-823E-00DD9B9AEA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hỗ dành sẵn cho Số hiệu Bản chiếu 6">
            <a:extLst>
              <a:ext uri="{FF2B5EF4-FFF2-40B4-BE49-F238E27FC236}">
                <a16:creationId xmlns:a16="http://schemas.microsoft.com/office/drawing/2014/main" id="{B11BB5CB-BB50-439D-B6CA-CB68AD0513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617C1-1328-440D-8C49-CFFC098ABD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459988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hép so sán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3B58F226-3C72-47FA-AB47-672DAADF7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Văn bản 2">
            <a:extLst>
              <a:ext uri="{FF2B5EF4-FFF2-40B4-BE49-F238E27FC236}">
                <a16:creationId xmlns:a16="http://schemas.microsoft.com/office/drawing/2014/main" id="{C6836FE8-42B3-4C13-A7AC-CAD1FA494F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vi-VN"/>
              <a:t>Chỉnh sửa kiểu văn bản của Bản cái</a:t>
            </a:r>
          </a:p>
        </p:txBody>
      </p:sp>
      <p:sp>
        <p:nvSpPr>
          <p:cNvPr id="4" name="Chỗ dành sẵn cho Nội dung 3">
            <a:extLst>
              <a:ext uri="{FF2B5EF4-FFF2-40B4-BE49-F238E27FC236}">
                <a16:creationId xmlns:a16="http://schemas.microsoft.com/office/drawing/2014/main" id="{F2E2B196-3B0E-4E2D-BD60-0E8184105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vi-VN"/>
              <a:t>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5" name="Chỗ dành sẵn cho Văn bản 4">
            <a:extLst>
              <a:ext uri="{FF2B5EF4-FFF2-40B4-BE49-F238E27FC236}">
                <a16:creationId xmlns:a16="http://schemas.microsoft.com/office/drawing/2014/main" id="{4A025E94-BCAA-4A6C-975F-7A64B1D3B8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vi-VN"/>
              <a:t>Chỉnh sửa kiểu văn bản của Bản cái</a:t>
            </a:r>
          </a:p>
        </p:txBody>
      </p:sp>
      <p:sp>
        <p:nvSpPr>
          <p:cNvPr id="6" name="Chỗ dành sẵn cho Nội dung 5">
            <a:extLst>
              <a:ext uri="{FF2B5EF4-FFF2-40B4-BE49-F238E27FC236}">
                <a16:creationId xmlns:a16="http://schemas.microsoft.com/office/drawing/2014/main" id="{1FBE0D01-DF5D-4331-8837-38B142EA73E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vi-VN"/>
              <a:t>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7" name="Chỗ dành sẵn cho Ngày tháng 6">
            <a:extLst>
              <a:ext uri="{FF2B5EF4-FFF2-40B4-BE49-F238E27FC236}">
                <a16:creationId xmlns:a16="http://schemas.microsoft.com/office/drawing/2014/main" id="{26E3B58B-B818-4925-B4A6-7EA5ACBA72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52DDD-97E1-4DCD-992F-C937C05EE37C}" type="datetimeFigureOut">
              <a:rPr lang="en-US" smtClean="0"/>
              <a:t>1/1/2022</a:t>
            </a:fld>
            <a:endParaRPr lang="en-US"/>
          </a:p>
        </p:txBody>
      </p:sp>
      <p:sp>
        <p:nvSpPr>
          <p:cNvPr id="8" name="Chỗ dành sẵn cho Chân trang 7">
            <a:extLst>
              <a:ext uri="{FF2B5EF4-FFF2-40B4-BE49-F238E27FC236}">
                <a16:creationId xmlns:a16="http://schemas.microsoft.com/office/drawing/2014/main" id="{9540E202-94A9-4AD5-B3A4-52C3DBA0D9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hỗ dành sẵn cho Số hiệu Bản chiếu 8">
            <a:extLst>
              <a:ext uri="{FF2B5EF4-FFF2-40B4-BE49-F238E27FC236}">
                <a16:creationId xmlns:a16="http://schemas.microsoft.com/office/drawing/2014/main" id="{4DC4C3FB-DFB3-4775-9238-651390D16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617C1-1328-440D-8C49-CFFC098ABD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239727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hỉ Tiêu đê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8BE1F1F8-18E6-4F35-BD80-7BEA66F05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Ngày tháng 2">
            <a:extLst>
              <a:ext uri="{FF2B5EF4-FFF2-40B4-BE49-F238E27FC236}">
                <a16:creationId xmlns:a16="http://schemas.microsoft.com/office/drawing/2014/main" id="{0FBC59E7-4FAE-40B1-A044-AD8BE27D5C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52DDD-97E1-4DCD-992F-C937C05EE37C}" type="datetimeFigureOut">
              <a:rPr lang="en-US" smtClean="0"/>
              <a:t>1/1/2022</a:t>
            </a:fld>
            <a:endParaRPr lang="en-US"/>
          </a:p>
        </p:txBody>
      </p:sp>
      <p:sp>
        <p:nvSpPr>
          <p:cNvPr id="4" name="Chỗ dành sẵn cho Chân trang 3">
            <a:extLst>
              <a:ext uri="{FF2B5EF4-FFF2-40B4-BE49-F238E27FC236}">
                <a16:creationId xmlns:a16="http://schemas.microsoft.com/office/drawing/2014/main" id="{F95514AC-1A28-4A3F-A52B-E0D65ED629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hỗ dành sẵn cho Số hiệu Bản chiếu 4">
            <a:extLst>
              <a:ext uri="{FF2B5EF4-FFF2-40B4-BE49-F238E27FC236}">
                <a16:creationId xmlns:a16="http://schemas.microsoft.com/office/drawing/2014/main" id="{34050F1F-6FFA-49D4-B5D2-6FF32CCF8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617C1-1328-440D-8C49-CFFC098ABD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888215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rố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Ngày tháng 1">
            <a:extLst>
              <a:ext uri="{FF2B5EF4-FFF2-40B4-BE49-F238E27FC236}">
                <a16:creationId xmlns:a16="http://schemas.microsoft.com/office/drawing/2014/main" id="{3A0BCA76-E1BF-43F1-B365-7E55538FE6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52DDD-97E1-4DCD-992F-C937C05EE37C}" type="datetimeFigureOut">
              <a:rPr lang="en-US" smtClean="0"/>
              <a:t>1/1/2022</a:t>
            </a:fld>
            <a:endParaRPr lang="en-US"/>
          </a:p>
        </p:txBody>
      </p:sp>
      <p:sp>
        <p:nvSpPr>
          <p:cNvPr id="3" name="Chỗ dành sẵn cho Chân trang 2">
            <a:extLst>
              <a:ext uri="{FF2B5EF4-FFF2-40B4-BE49-F238E27FC236}">
                <a16:creationId xmlns:a16="http://schemas.microsoft.com/office/drawing/2014/main" id="{DBFB2996-E7B1-4C39-A4D6-D18863E4D9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hỗ dành sẵn cho Số hiệu Bản chiếu 3">
            <a:extLst>
              <a:ext uri="{FF2B5EF4-FFF2-40B4-BE49-F238E27FC236}">
                <a16:creationId xmlns:a16="http://schemas.microsoft.com/office/drawing/2014/main" id="{018C1C0A-809A-4D16-AD1B-FD984FC26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617C1-1328-440D-8C49-CFFC098ABD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800070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2901875" y="1033400"/>
            <a:ext cx="5292300" cy="3267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600"/>
              </a:spcBef>
              <a:spcAft>
                <a:spcPts val="1000"/>
              </a:spcAft>
              <a:buClr>
                <a:srgbClr val="A6BCC9"/>
              </a:buClr>
              <a:buSzPct val="100000"/>
              <a:buFont typeface="Lato Light"/>
              <a:buChar char="○"/>
              <a:defRPr sz="2000">
                <a:solidFill>
                  <a:srgbClr val="4A5C65"/>
                </a:solidFill>
                <a:latin typeface="Lato Light"/>
                <a:ea typeface="Lato Light"/>
                <a:cs typeface="Lato Light"/>
                <a:sym typeface="Lato Light"/>
              </a:defRPr>
            </a:lvl1pPr>
            <a:lvl2pPr lvl="1">
              <a:spcBef>
                <a:spcPts val="480"/>
              </a:spcBef>
              <a:spcAft>
                <a:spcPts val="1000"/>
              </a:spcAft>
              <a:buClr>
                <a:srgbClr val="A6BCC9"/>
              </a:buClr>
              <a:buSzPct val="100000"/>
              <a:buFont typeface="Lato Light"/>
              <a:buChar char="◦"/>
              <a:defRPr sz="2000">
                <a:solidFill>
                  <a:srgbClr val="4A5C65"/>
                </a:solidFill>
                <a:latin typeface="Lato Light"/>
                <a:ea typeface="Lato Light"/>
                <a:cs typeface="Lato Light"/>
                <a:sym typeface="Lato Light"/>
              </a:defRPr>
            </a:lvl2pPr>
            <a:lvl3pPr lvl="2">
              <a:spcBef>
                <a:spcPts val="480"/>
              </a:spcBef>
              <a:spcAft>
                <a:spcPts val="1000"/>
              </a:spcAft>
              <a:buClr>
                <a:srgbClr val="A6BCC9"/>
              </a:buClr>
              <a:buSzPct val="100000"/>
              <a:buFont typeface="Lato Light"/>
              <a:buChar char="◦"/>
              <a:defRPr sz="2000">
                <a:solidFill>
                  <a:srgbClr val="4A5C65"/>
                </a:solidFill>
                <a:latin typeface="Lato Light"/>
                <a:ea typeface="Lato Light"/>
                <a:cs typeface="Lato Light"/>
                <a:sym typeface="Lato Light"/>
              </a:defRPr>
            </a:lvl3pPr>
            <a:lvl4pPr lvl="3">
              <a:spcBef>
                <a:spcPts val="360"/>
              </a:spcBef>
              <a:spcAft>
                <a:spcPts val="1000"/>
              </a:spcAft>
              <a:buClr>
                <a:srgbClr val="A6BCC9"/>
              </a:buClr>
              <a:buSzPct val="100000"/>
              <a:buFont typeface="Lato Light"/>
              <a:buChar char="◦"/>
              <a:defRPr sz="2000">
                <a:solidFill>
                  <a:srgbClr val="4A5C65"/>
                </a:solidFill>
                <a:latin typeface="Lato Light"/>
                <a:ea typeface="Lato Light"/>
                <a:cs typeface="Lato Light"/>
                <a:sym typeface="Lato Light"/>
              </a:defRPr>
            </a:lvl4pPr>
            <a:lvl5pPr lvl="4">
              <a:spcBef>
                <a:spcPts val="360"/>
              </a:spcBef>
              <a:spcAft>
                <a:spcPts val="1000"/>
              </a:spcAft>
              <a:buClr>
                <a:srgbClr val="A6BCC9"/>
              </a:buClr>
              <a:buSzPct val="100000"/>
              <a:buFont typeface="Lato Light"/>
              <a:buChar char="◦"/>
              <a:defRPr sz="2000">
                <a:solidFill>
                  <a:srgbClr val="4A5C65"/>
                </a:solidFill>
                <a:latin typeface="Lato Light"/>
                <a:ea typeface="Lato Light"/>
                <a:cs typeface="Lato Light"/>
                <a:sym typeface="Lato Light"/>
              </a:defRPr>
            </a:lvl5pPr>
            <a:lvl6pPr lvl="5">
              <a:spcBef>
                <a:spcPts val="360"/>
              </a:spcBef>
              <a:spcAft>
                <a:spcPts val="1000"/>
              </a:spcAft>
              <a:buClr>
                <a:srgbClr val="A6BCC9"/>
              </a:buClr>
              <a:buSzPct val="100000"/>
              <a:buFont typeface="Lato Light"/>
              <a:buChar char="◦"/>
              <a:defRPr sz="2000">
                <a:solidFill>
                  <a:srgbClr val="4A5C65"/>
                </a:solidFill>
                <a:latin typeface="Lato Light"/>
                <a:ea typeface="Lato Light"/>
                <a:cs typeface="Lato Light"/>
                <a:sym typeface="Lato Light"/>
              </a:defRPr>
            </a:lvl6pPr>
            <a:lvl7pPr lvl="6">
              <a:spcBef>
                <a:spcPts val="360"/>
              </a:spcBef>
              <a:spcAft>
                <a:spcPts val="1000"/>
              </a:spcAft>
              <a:buClr>
                <a:srgbClr val="A6BCC9"/>
              </a:buClr>
              <a:buSzPct val="100000"/>
              <a:buFont typeface="Lato Light"/>
              <a:buChar char="◦"/>
              <a:defRPr sz="2000">
                <a:solidFill>
                  <a:srgbClr val="4A5C65"/>
                </a:solidFill>
                <a:latin typeface="Lato Light"/>
                <a:ea typeface="Lato Light"/>
                <a:cs typeface="Lato Light"/>
                <a:sym typeface="Lato Light"/>
              </a:defRPr>
            </a:lvl7pPr>
            <a:lvl8pPr lvl="7">
              <a:spcBef>
                <a:spcPts val="360"/>
              </a:spcBef>
              <a:spcAft>
                <a:spcPts val="1000"/>
              </a:spcAft>
              <a:buClr>
                <a:srgbClr val="A6BCC9"/>
              </a:buClr>
              <a:buSzPct val="100000"/>
              <a:buFont typeface="Lato Light"/>
              <a:buChar char="◦"/>
              <a:defRPr sz="2000">
                <a:solidFill>
                  <a:srgbClr val="4A5C65"/>
                </a:solidFill>
                <a:latin typeface="Lato Light"/>
                <a:ea typeface="Lato Light"/>
                <a:cs typeface="Lato Light"/>
                <a:sym typeface="Lato Light"/>
              </a:defRPr>
            </a:lvl8pPr>
            <a:lvl9pPr lvl="8">
              <a:spcBef>
                <a:spcPts val="360"/>
              </a:spcBef>
              <a:spcAft>
                <a:spcPts val="1000"/>
              </a:spcAft>
              <a:buClr>
                <a:srgbClr val="A6BCC9"/>
              </a:buClr>
              <a:buSzPct val="100000"/>
              <a:buFont typeface="Lato Light"/>
              <a:buChar char="◦"/>
              <a:defRPr sz="2000">
                <a:solidFill>
                  <a:srgbClr val="4A5C65"/>
                </a:solidFill>
                <a:latin typeface="Lato Light"/>
                <a:ea typeface="Lato Light"/>
                <a:cs typeface="Lato Light"/>
                <a:sym typeface="Lato Light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title"/>
          </p:nvPr>
        </p:nvSpPr>
        <p:spPr>
          <a:xfrm>
            <a:off x="144075" y="559475"/>
            <a:ext cx="2142000" cy="2630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lvl="0">
              <a:spcBef>
                <a:spcPts val="0"/>
              </a:spcBef>
              <a:buClr>
                <a:srgbClr val="FFFFFF"/>
              </a:buClr>
              <a:buSzPct val="100000"/>
              <a:buFont typeface="Roboto Slab Light"/>
              <a:buNone/>
              <a:defRPr sz="2000">
                <a:solidFill>
                  <a:srgbClr val="FFFFFF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1pPr>
            <a:lvl2pPr lvl="1">
              <a:spcBef>
                <a:spcPts val="0"/>
              </a:spcBef>
              <a:buClr>
                <a:srgbClr val="FFFFFF"/>
              </a:buClr>
              <a:buSzPct val="100000"/>
              <a:buFont typeface="Roboto Slab Light"/>
              <a:buNone/>
              <a:defRPr sz="2000">
                <a:solidFill>
                  <a:srgbClr val="FFFFFF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2pPr>
            <a:lvl3pPr lvl="2">
              <a:spcBef>
                <a:spcPts val="0"/>
              </a:spcBef>
              <a:buClr>
                <a:srgbClr val="FFFFFF"/>
              </a:buClr>
              <a:buSzPct val="100000"/>
              <a:buFont typeface="Roboto Slab Light"/>
              <a:buNone/>
              <a:defRPr sz="2000">
                <a:solidFill>
                  <a:srgbClr val="FFFFFF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3pPr>
            <a:lvl4pPr lvl="3">
              <a:spcBef>
                <a:spcPts val="0"/>
              </a:spcBef>
              <a:buClr>
                <a:srgbClr val="FFFFFF"/>
              </a:buClr>
              <a:buSzPct val="100000"/>
              <a:buFont typeface="Roboto Slab Light"/>
              <a:buNone/>
              <a:defRPr sz="2000">
                <a:solidFill>
                  <a:srgbClr val="FFFFFF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4pPr>
            <a:lvl5pPr lvl="4">
              <a:spcBef>
                <a:spcPts val="0"/>
              </a:spcBef>
              <a:buClr>
                <a:srgbClr val="FFFFFF"/>
              </a:buClr>
              <a:buSzPct val="100000"/>
              <a:buFont typeface="Roboto Slab Light"/>
              <a:buNone/>
              <a:defRPr sz="2000">
                <a:solidFill>
                  <a:srgbClr val="FFFFFF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5pPr>
            <a:lvl6pPr lvl="5">
              <a:spcBef>
                <a:spcPts val="0"/>
              </a:spcBef>
              <a:buClr>
                <a:srgbClr val="FFFFFF"/>
              </a:buClr>
              <a:buSzPct val="100000"/>
              <a:buFont typeface="Roboto Slab Light"/>
              <a:buNone/>
              <a:defRPr sz="2000">
                <a:solidFill>
                  <a:srgbClr val="FFFFFF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6pPr>
            <a:lvl7pPr lvl="6">
              <a:spcBef>
                <a:spcPts val="0"/>
              </a:spcBef>
              <a:buClr>
                <a:srgbClr val="FFFFFF"/>
              </a:buClr>
              <a:buSzPct val="100000"/>
              <a:buFont typeface="Roboto Slab Light"/>
              <a:buNone/>
              <a:defRPr sz="2000">
                <a:solidFill>
                  <a:srgbClr val="FFFFFF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7pPr>
            <a:lvl8pPr lvl="7">
              <a:spcBef>
                <a:spcPts val="0"/>
              </a:spcBef>
              <a:buClr>
                <a:srgbClr val="FFFFFF"/>
              </a:buClr>
              <a:buSzPct val="100000"/>
              <a:buFont typeface="Roboto Slab Light"/>
              <a:buNone/>
              <a:defRPr sz="2000">
                <a:solidFill>
                  <a:srgbClr val="FFFFFF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8pPr>
            <a:lvl9pPr lvl="8">
              <a:spcBef>
                <a:spcPts val="0"/>
              </a:spcBef>
              <a:buClr>
                <a:srgbClr val="FFFFFF"/>
              </a:buClr>
              <a:buSzPct val="100000"/>
              <a:buFont typeface="Roboto Slab Light"/>
              <a:buNone/>
              <a:defRPr sz="2000">
                <a:solidFill>
                  <a:srgbClr val="FFFFFF"/>
                </a:solidFill>
                <a:latin typeface="Roboto Slab Light"/>
                <a:ea typeface="Roboto Slab Light"/>
                <a:cs typeface="Roboto Slab Light"/>
                <a:sym typeface="Roboto Slab Light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7" r:id="rId1"/>
    <p:sldLayoutId id="2147483676" r:id="rId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Tiêu đề 1">
            <a:extLst>
              <a:ext uri="{FF2B5EF4-FFF2-40B4-BE49-F238E27FC236}">
                <a16:creationId xmlns:a16="http://schemas.microsoft.com/office/drawing/2014/main" id="{0197E427-57B7-4D98-91EE-16C75F9F61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vi-VN"/>
              <a:t>Bấm để sửa kiểu tiêu đề Bản cái</a:t>
            </a:r>
            <a:endParaRPr lang="en-US"/>
          </a:p>
        </p:txBody>
      </p:sp>
      <p:sp>
        <p:nvSpPr>
          <p:cNvPr id="3" name="Chỗ dành sẵn cho Văn bản 2">
            <a:extLst>
              <a:ext uri="{FF2B5EF4-FFF2-40B4-BE49-F238E27FC236}">
                <a16:creationId xmlns:a16="http://schemas.microsoft.com/office/drawing/2014/main" id="{BF50150E-EBCA-473F-9352-DA5C7AF545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vi-VN"/>
              <a:t>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4" name="Chỗ dành sẵn cho Ngày tháng 3">
            <a:extLst>
              <a:ext uri="{FF2B5EF4-FFF2-40B4-BE49-F238E27FC236}">
                <a16:creationId xmlns:a16="http://schemas.microsoft.com/office/drawing/2014/main" id="{17FE21AC-DDD2-483D-A033-ECE0B0F2E5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C52DDD-97E1-4DCD-992F-C937C05EE37C}" type="datetimeFigureOut">
              <a:rPr lang="en-US" smtClean="0"/>
              <a:t>1/1/2022</a:t>
            </a:fld>
            <a:endParaRPr lang="en-US"/>
          </a:p>
        </p:txBody>
      </p:sp>
      <p:sp>
        <p:nvSpPr>
          <p:cNvPr id="5" name="Chỗ dành sẵn cho Chân trang 4">
            <a:extLst>
              <a:ext uri="{FF2B5EF4-FFF2-40B4-BE49-F238E27FC236}">
                <a16:creationId xmlns:a16="http://schemas.microsoft.com/office/drawing/2014/main" id="{02419295-2887-443E-B1C7-E62381E1A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Chỗ dành sẵn cho Số hiệu Bản chiếu 5">
            <a:extLst>
              <a:ext uri="{FF2B5EF4-FFF2-40B4-BE49-F238E27FC236}">
                <a16:creationId xmlns:a16="http://schemas.microsoft.com/office/drawing/2014/main" id="{E05A672F-C583-49B8-BB39-286D4C344F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4617C1-1328-440D-8C49-CFFC098ABD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90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1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jpg"/><Relationship Id="rId4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jpg"/><Relationship Id="rId4" Type="http://schemas.openxmlformats.org/officeDocument/2006/relationships/notesSlide" Target="../notesSlides/notesSlide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6.png"/><Relationship Id="rId5" Type="http://schemas.openxmlformats.org/officeDocument/2006/relationships/image" Target="../media/image1.jpg"/><Relationship Id="rId4" Type="http://schemas.openxmlformats.org/officeDocument/2006/relationships/notesSlide" Target="../notesSlides/notesSlide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1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jpg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1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1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3.png"/><Relationship Id="rId4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jpg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jpg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jpg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jpg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A_图片 3">
            <a:extLst>
              <a:ext uri="{FF2B5EF4-FFF2-40B4-BE49-F238E27FC236}">
                <a16:creationId xmlns:a16="http://schemas.microsoft.com/office/drawing/2014/main" id="{C1772403-DBCA-437C-9931-73C50C879E3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平行四边形 4"/>
          <p:cNvSpPr/>
          <p:nvPr/>
        </p:nvSpPr>
        <p:spPr>
          <a:xfrm>
            <a:off x="1398006" y="0"/>
            <a:ext cx="6534726" cy="5143500"/>
          </a:xfrm>
          <a:prstGeom prst="parallelogram">
            <a:avLst>
              <a:gd name="adj" fmla="val 26721"/>
            </a:avLst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50"/>
          </a:p>
        </p:txBody>
      </p:sp>
      <p:sp>
        <p:nvSpPr>
          <p:cNvPr id="6" name="文本框 5"/>
          <p:cNvSpPr txBox="1"/>
          <p:nvPr/>
        </p:nvSpPr>
        <p:spPr>
          <a:xfrm>
            <a:off x="-32283" y="2148357"/>
            <a:ext cx="917628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BÁO CÁO TIỂU LUẬN: </a:t>
            </a:r>
            <a:r>
              <a:rPr lang="en-US" sz="6000" b="1" dirty="0" err="1"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CouchBase</a:t>
            </a:r>
            <a:r>
              <a:rPr lang="en-US" sz="6000" b="1" dirty="0"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7" name="矩形 6"/>
          <p:cNvSpPr/>
          <p:nvPr/>
        </p:nvSpPr>
        <p:spPr>
          <a:xfrm flipV="1">
            <a:off x="3691049" y="3106139"/>
            <a:ext cx="1761902" cy="40709"/>
          </a:xfrm>
          <a:prstGeom prst="rect">
            <a:avLst/>
          </a:prstGeom>
          <a:solidFill>
            <a:srgbClr val="535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50" dirty="0"/>
          </a:p>
        </p:txBody>
      </p:sp>
    </p:spTree>
    <p:extLst>
      <p:ext uri="{BB962C8B-B14F-4D97-AF65-F5344CB8AC3E}">
        <p14:creationId xmlns:p14="http://schemas.microsoft.com/office/powerpoint/2010/main" val="292945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2000" fill="hold"/>
                                        <p:tgtEl>
                                          <p:spTgt spid="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17" presetClass="entr" presetSubtype="1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2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build="p"/>
      <p:bldP spid="7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FF0826A2-F4AD-431F-B86F-3B49EE8587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016FA790-A7E9-4005-9407-0D984E279B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A_图片 3">
            <a:extLst>
              <a:ext uri="{FF2B5EF4-FFF2-40B4-BE49-F238E27FC236}">
                <a16:creationId xmlns:a16="http://schemas.microsoft.com/office/drawing/2014/main" id="{8305B69F-33D7-4531-8C71-8AF4617CFB1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A_图片 3">
            <a:extLst>
              <a:ext uri="{FF2B5EF4-FFF2-40B4-BE49-F238E27FC236}">
                <a16:creationId xmlns:a16="http://schemas.microsoft.com/office/drawing/2014/main" id="{9DB700E4-2B89-4DE2-8945-A0D6EF04AB0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78971" y="1786920"/>
            <a:ext cx="846182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ượ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iế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ế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iê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ệ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ư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ữ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iệ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ạ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iệ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JSON, BSON, XML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ô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ò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ỏ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ù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ự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ạ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ả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ậ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iệ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ướ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ậ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ữ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iệ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39340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09600" y="1001485"/>
            <a:ext cx="8534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CSDL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ướ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iệ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ử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ụ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ặ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ó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á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ị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o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iệ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o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iệ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ày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ó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à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ị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a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uy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hấ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ọ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à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D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09600" y="2021167"/>
            <a:ext cx="79538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iểm</a:t>
            </a:r>
            <a:r>
              <a:rPr lang="en-US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hác</a:t>
            </a:r>
            <a:r>
              <a:rPr lang="en-US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hau</a:t>
            </a:r>
            <a:r>
              <a:rPr lang="en-US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o </a:t>
            </a:r>
            <a:r>
              <a:rPr lang="en-US" sz="24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ới</a:t>
            </a:r>
            <a:r>
              <a:rPr lang="en-US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CSDL </a:t>
            </a:r>
            <a:r>
              <a:rPr lang="en-US" sz="24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ặp</a:t>
            </a:r>
            <a:r>
              <a:rPr lang="en-US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hóa</a:t>
            </a:r>
            <a:r>
              <a:rPr lang="en-US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en-US" sz="24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iá</a:t>
            </a:r>
            <a:r>
              <a:rPr lang="en-US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ị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in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o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ộ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á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ị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ô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ị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ẩ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ấ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ê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ễ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à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uy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ấn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72891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FF0826A2-F4AD-431F-B86F-3B49EE8587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016FA790-A7E9-4005-9407-0D984E279B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A_图片 3">
            <a:extLst>
              <a:ext uri="{FF2B5EF4-FFF2-40B4-BE49-F238E27FC236}">
                <a16:creationId xmlns:a16="http://schemas.microsoft.com/office/drawing/2014/main" id="{8305B69F-33D7-4531-8C71-8AF4617CFB1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A_图片 3">
            <a:extLst>
              <a:ext uri="{FF2B5EF4-FFF2-40B4-BE49-F238E27FC236}">
                <a16:creationId xmlns:a16="http://schemas.microsoft.com/office/drawing/2014/main" id="{9DB700E4-2B89-4DE2-8945-A0D6EF04AB0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41085" y="1744803"/>
            <a:ext cx="846182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oạ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ữ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iệ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ơ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ả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strings, numbers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atetime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Boolean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à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binary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ượ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ư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ữ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ướ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ạ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Base64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oạ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ữ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iệ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hứ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ạ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ừ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iể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ả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a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ác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ượ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ư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ữ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ướ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ạ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JS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61569" y="804326"/>
            <a:ext cx="74208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ách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ouchBase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ổ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ức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ưu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ữ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ữ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iệu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8602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1339" y="381050"/>
            <a:ext cx="9013371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521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381725"/>
            <a:ext cx="9144000" cy="433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5698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FF0826A2-F4AD-431F-B86F-3B49EE8587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A_图片 3">
            <a:extLst>
              <a:ext uri="{FF2B5EF4-FFF2-40B4-BE49-F238E27FC236}">
                <a16:creationId xmlns:a16="http://schemas.microsoft.com/office/drawing/2014/main" id="{8305B69F-33D7-4531-8C71-8AF4617CFB1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A_图片 3">
            <a:extLst>
              <a:ext uri="{FF2B5EF4-FFF2-40B4-BE49-F238E27FC236}">
                <a16:creationId xmlns:a16="http://schemas.microsoft.com/office/drawing/2014/main" id="{9DB700E4-2B89-4DE2-8945-A0D6EF04AB0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5" name="Hộp Văn bản 24">
            <a:extLst>
              <a:ext uri="{FF2B5EF4-FFF2-40B4-BE49-F238E27FC236}">
                <a16:creationId xmlns:a16="http://schemas.microsoft.com/office/drawing/2014/main" id="{5C46C174-F268-4987-B47F-9A971505A3DB}"/>
              </a:ext>
            </a:extLst>
          </p:cNvPr>
          <p:cNvSpPr txBox="1"/>
          <p:nvPr/>
        </p:nvSpPr>
        <p:spPr>
          <a:xfrm>
            <a:off x="929448" y="729754"/>
            <a:ext cx="728510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ouchbase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Server </a:t>
            </a:r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ung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ấp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>
                <a:solidFill>
                  <a:srgbClr val="FF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 </a:t>
            </a:r>
            <a:r>
              <a:rPr lang="en-US" sz="2800" b="1" dirty="0" err="1">
                <a:solidFill>
                  <a:srgbClr val="FF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ách</a:t>
            </a:r>
            <a:r>
              <a:rPr lang="en-US" sz="2800" b="1" dirty="0">
                <a:solidFill>
                  <a:srgbClr val="FF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để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ruy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vấn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ữ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liệu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ó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lưu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rữ</a:t>
            </a:r>
            <a:endParaRPr lang="en-US" sz="2800" dirty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6" name="Hình chữ nhật 25">
            <a:extLst>
              <a:ext uri="{FF2B5EF4-FFF2-40B4-BE49-F238E27FC236}">
                <a16:creationId xmlns:a16="http://schemas.microsoft.com/office/drawing/2014/main" id="{B0ACB1AE-6A37-44B7-83BE-CED708B1B6E7}"/>
              </a:ext>
            </a:extLst>
          </p:cNvPr>
          <p:cNvSpPr/>
          <p:nvPr/>
        </p:nvSpPr>
        <p:spPr>
          <a:xfrm>
            <a:off x="0" y="0"/>
            <a:ext cx="9144000" cy="6473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3.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gôn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gữ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ao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ác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ới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ữ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iệu</a:t>
            </a:r>
            <a:endParaRPr lang="en-US" sz="3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29448" y="1859979"/>
            <a:ext cx="7285103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1Q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e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ey-value look ups.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9448" y="2494453"/>
            <a:ext cx="7716327" cy="695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429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500"/>
                            </p:stCondLst>
                            <p:childTnLst>
                              <p:par>
                                <p:cTn id="12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8428" y="378823"/>
            <a:ext cx="83629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ế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a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iết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ượ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Key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iệu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document)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ầ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ì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ì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iệc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uy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ấ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ô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ù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ơn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iản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856" y="1209820"/>
            <a:ext cx="7520094" cy="3140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4797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3294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FF0826A2-F4AD-431F-B86F-3B49EE8587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A_图片 3">
            <a:extLst>
              <a:ext uri="{FF2B5EF4-FFF2-40B4-BE49-F238E27FC236}">
                <a16:creationId xmlns:a16="http://schemas.microsoft.com/office/drawing/2014/main" id="{8305B69F-33D7-4531-8C71-8AF4617CFB1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5" name="Hộp Văn bản 24">
            <a:extLst>
              <a:ext uri="{FF2B5EF4-FFF2-40B4-BE49-F238E27FC236}">
                <a16:creationId xmlns:a16="http://schemas.microsoft.com/office/drawing/2014/main" id="{5C46C174-F268-4987-B47F-9A971505A3DB}"/>
              </a:ext>
            </a:extLst>
          </p:cNvPr>
          <p:cNvSpPr txBox="1"/>
          <p:nvPr/>
        </p:nvSpPr>
        <p:spPr>
          <a:xfrm>
            <a:off x="929448" y="1617643"/>
            <a:ext cx="728510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ouchbase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Server </a:t>
            </a:r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được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xây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ựng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để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quản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lý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ác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ụm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26" name="Hình chữ nhật 25">
            <a:extLst>
              <a:ext uri="{FF2B5EF4-FFF2-40B4-BE49-F238E27FC236}">
                <a16:creationId xmlns:a16="http://schemas.microsoft.com/office/drawing/2014/main" id="{B0ACB1AE-6A37-44B7-83BE-CED708B1B6E7}"/>
              </a:ext>
            </a:extLst>
          </p:cNvPr>
          <p:cNvSpPr/>
          <p:nvPr/>
        </p:nvSpPr>
        <p:spPr>
          <a:xfrm>
            <a:off x="0" y="0"/>
            <a:ext cx="9144000" cy="6473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4.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ến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úc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10" name="Hộp Văn bản 24">
            <a:extLst>
              <a:ext uri="{FF2B5EF4-FFF2-40B4-BE49-F238E27FC236}">
                <a16:creationId xmlns:a16="http://schemas.microsoft.com/office/drawing/2014/main" id="{5C46C174-F268-4987-B47F-9A971505A3DB}"/>
              </a:ext>
            </a:extLst>
          </p:cNvPr>
          <p:cNvSpPr txBox="1"/>
          <p:nvPr/>
        </p:nvSpPr>
        <p:spPr>
          <a:xfrm>
            <a:off x="929448" y="647333"/>
            <a:ext cx="728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.1 </a:t>
            </a:r>
            <a:r>
              <a:rPr lang="en-US" sz="2800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ouchbase</a:t>
            </a:r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Server</a:t>
            </a:r>
          </a:p>
        </p:txBody>
      </p:sp>
    </p:spTree>
    <p:extLst>
      <p:ext uri="{BB962C8B-B14F-4D97-AF65-F5344CB8AC3E}">
        <p14:creationId xmlns:p14="http://schemas.microsoft.com/office/powerpoint/2010/main" val="294083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10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3017" y="1043555"/>
            <a:ext cx="6339168" cy="2535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3501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FF0826A2-F4AD-431F-B86F-3B49EE8587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016FA790-A7E9-4005-9407-0D984E279B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A_图片 3">
            <a:extLst>
              <a:ext uri="{FF2B5EF4-FFF2-40B4-BE49-F238E27FC236}">
                <a16:creationId xmlns:a16="http://schemas.microsoft.com/office/drawing/2014/main" id="{8305B69F-33D7-4531-8C71-8AF4617CFB1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A_图片 3">
            <a:extLst>
              <a:ext uri="{FF2B5EF4-FFF2-40B4-BE49-F238E27FC236}">
                <a16:creationId xmlns:a16="http://schemas.microsoft.com/office/drawing/2014/main" id="{9DB700E4-2B89-4DE2-8945-A0D6EF04AB0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5" name="Hộp Văn bản 24">
            <a:extLst>
              <a:ext uri="{FF2B5EF4-FFF2-40B4-BE49-F238E27FC236}">
                <a16:creationId xmlns:a16="http://schemas.microsoft.com/office/drawing/2014/main" id="{5C46C174-F268-4987-B47F-9A971505A3DB}"/>
              </a:ext>
            </a:extLst>
          </p:cNvPr>
          <p:cNvSpPr txBox="1"/>
          <p:nvPr/>
        </p:nvSpPr>
        <p:spPr>
          <a:xfrm>
            <a:off x="410901" y="429226"/>
            <a:ext cx="83221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anh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sách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ác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ành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viên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:</a:t>
            </a:r>
          </a:p>
        </p:txBody>
      </p:sp>
      <p:sp>
        <p:nvSpPr>
          <p:cNvPr id="9" name="Hộp Văn bản 8">
            <a:extLst>
              <a:ext uri="{FF2B5EF4-FFF2-40B4-BE49-F238E27FC236}">
                <a16:creationId xmlns:a16="http://schemas.microsoft.com/office/drawing/2014/main" id="{1761C252-C4A6-4CF4-B4E4-E9B7D4B6B3AE}"/>
              </a:ext>
            </a:extLst>
          </p:cNvPr>
          <p:cNvSpPr txBox="1"/>
          <p:nvPr/>
        </p:nvSpPr>
        <p:spPr>
          <a:xfrm>
            <a:off x="410901" y="1155147"/>
            <a:ext cx="732339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buFont typeface="Wingdings" panose="05000000000000000000" pitchFamily="2" charset="2"/>
              <a:buChar char="Ø"/>
            </a:pP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uỳnh Đắc Nhật Tân - 19522171</a:t>
            </a:r>
          </a:p>
          <a:p>
            <a:pPr marL="342900" lvl="0" indent="-342900">
              <a:buFont typeface="Wingdings" panose="05000000000000000000" pitchFamily="2" charset="2"/>
              <a:buChar char="Ø"/>
            </a:pPr>
            <a:r>
              <a:rPr lang="en-US" sz="3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uyễn</a:t>
            </a: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inh</a:t>
            </a: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- 19522286</a:t>
            </a:r>
          </a:p>
          <a:p>
            <a:pPr marL="342900" lvl="0" indent="-342900">
              <a:buFont typeface="Wingdings" panose="05000000000000000000" pitchFamily="2" charset="2"/>
              <a:buChar char="Ø"/>
            </a:pPr>
            <a:r>
              <a:rPr lang="en-US" sz="3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uyễn</a:t>
            </a: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ành</a:t>
            </a: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ông</a:t>
            </a:r>
            <a:r>
              <a:rPr lang="en-US" sz="3600">
                <a:latin typeface="Times New Roman" panose="02020603050405020304" pitchFamily="18" charset="0"/>
                <a:cs typeface="Times New Roman" panose="02020603050405020304" pitchFamily="18" charset="0"/>
              </a:rPr>
              <a:t> - 15520070</a:t>
            </a:r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ê </a:t>
            </a:r>
            <a:r>
              <a:rPr lang="en-US" sz="3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hanh - 16521116</a:t>
            </a:r>
          </a:p>
        </p:txBody>
      </p:sp>
    </p:spTree>
    <p:extLst>
      <p:ext uri="{BB962C8B-B14F-4D97-AF65-F5344CB8AC3E}">
        <p14:creationId xmlns:p14="http://schemas.microsoft.com/office/powerpoint/2010/main" val="30108183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9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6496" y="56799"/>
            <a:ext cx="5611008" cy="5029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0946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FF0826A2-F4AD-431F-B86F-3B49EE8587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A_图片 3">
            <a:extLst>
              <a:ext uri="{FF2B5EF4-FFF2-40B4-BE49-F238E27FC236}">
                <a16:creationId xmlns:a16="http://schemas.microsoft.com/office/drawing/2014/main" id="{8305B69F-33D7-4531-8C71-8AF4617CFB1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6" name="Hình chữ nhật 25">
            <a:extLst>
              <a:ext uri="{FF2B5EF4-FFF2-40B4-BE49-F238E27FC236}">
                <a16:creationId xmlns:a16="http://schemas.microsoft.com/office/drawing/2014/main" id="{B0ACB1AE-6A37-44B7-83BE-CED708B1B6E7}"/>
              </a:ext>
            </a:extLst>
          </p:cNvPr>
          <p:cNvSpPr/>
          <p:nvPr/>
        </p:nvSpPr>
        <p:spPr>
          <a:xfrm>
            <a:off x="0" y="0"/>
            <a:ext cx="9144000" cy="6473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4.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ến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úc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10" name="Hộp Văn bản 24">
            <a:extLst>
              <a:ext uri="{FF2B5EF4-FFF2-40B4-BE49-F238E27FC236}">
                <a16:creationId xmlns:a16="http://schemas.microsoft.com/office/drawing/2014/main" id="{5C46C174-F268-4987-B47F-9A971505A3DB}"/>
              </a:ext>
            </a:extLst>
          </p:cNvPr>
          <p:cNvSpPr txBox="1"/>
          <p:nvPr/>
        </p:nvSpPr>
        <p:spPr>
          <a:xfrm>
            <a:off x="929448" y="647333"/>
            <a:ext cx="728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.2 Cache</a:t>
            </a:r>
          </a:p>
        </p:txBody>
      </p:sp>
    </p:spTree>
    <p:extLst>
      <p:ext uri="{BB962C8B-B14F-4D97-AF65-F5344CB8AC3E}">
        <p14:creationId xmlns:p14="http://schemas.microsoft.com/office/powerpoint/2010/main" val="1915072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006" y="-4536"/>
            <a:ext cx="7569788" cy="5148036"/>
          </a:xfrm>
          <a:prstGeom prst="rect">
            <a:avLst/>
          </a:prstGeom>
        </p:spPr>
      </p:pic>
      <p:cxnSp>
        <p:nvCxnSpPr>
          <p:cNvPr id="6" name="Straight Arrow Connector 5"/>
          <p:cNvCxnSpPr/>
          <p:nvPr/>
        </p:nvCxnSpPr>
        <p:spPr>
          <a:xfrm>
            <a:off x="5278848" y="-1378857"/>
            <a:ext cx="0" cy="107115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H="1" flipV="1">
            <a:off x="-425563" y="1576705"/>
            <a:ext cx="13063" cy="99277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186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0.39352 L 3.05556E-6 0.47685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6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55972 -0.0179 L 0.55902 -0.1784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" y="-802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006" y="0"/>
            <a:ext cx="7569788" cy="5148036"/>
          </a:xfrm>
          <a:prstGeom prst="rect">
            <a:avLst/>
          </a:prstGeom>
        </p:spPr>
      </p:pic>
      <p:cxnSp>
        <p:nvCxnSpPr>
          <p:cNvPr id="6" name="Straight Arrow Connector 5"/>
          <p:cNvCxnSpPr/>
          <p:nvPr/>
        </p:nvCxnSpPr>
        <p:spPr>
          <a:xfrm>
            <a:off x="5264333" y="-1543050"/>
            <a:ext cx="0" cy="107115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H="1" flipV="1">
            <a:off x="-768462" y="2673623"/>
            <a:ext cx="6462" cy="12370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6350183" y="-1543050"/>
            <a:ext cx="0" cy="107115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 flipV="1">
            <a:off x="-616062" y="2826023"/>
            <a:ext cx="6462" cy="12370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12272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0.33333 L -4.44444E-6 0.5006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836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958 0.54877 L -0.03958 0.79877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59201 0.12038 L 0.59201 -0.00432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23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58454 -0.35709 L 0.58454 -0.4253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42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FF0826A2-F4AD-431F-B86F-3B49EE8587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A_图片 3">
            <a:extLst>
              <a:ext uri="{FF2B5EF4-FFF2-40B4-BE49-F238E27FC236}">
                <a16:creationId xmlns:a16="http://schemas.microsoft.com/office/drawing/2014/main" id="{8305B69F-33D7-4531-8C71-8AF4617CFB1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6" name="Hình chữ nhật 25">
            <a:extLst>
              <a:ext uri="{FF2B5EF4-FFF2-40B4-BE49-F238E27FC236}">
                <a16:creationId xmlns:a16="http://schemas.microsoft.com/office/drawing/2014/main" id="{B0ACB1AE-6A37-44B7-83BE-CED708B1B6E7}"/>
              </a:ext>
            </a:extLst>
          </p:cNvPr>
          <p:cNvSpPr/>
          <p:nvPr/>
        </p:nvSpPr>
        <p:spPr>
          <a:xfrm>
            <a:off x="0" y="0"/>
            <a:ext cx="9144000" cy="6473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4.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ến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úc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10" name="Hộp Văn bản 24">
            <a:extLst>
              <a:ext uri="{FF2B5EF4-FFF2-40B4-BE49-F238E27FC236}">
                <a16:creationId xmlns:a16="http://schemas.microsoft.com/office/drawing/2014/main" id="{5C46C174-F268-4987-B47F-9A971505A3DB}"/>
              </a:ext>
            </a:extLst>
          </p:cNvPr>
          <p:cNvSpPr txBox="1"/>
          <p:nvPr/>
        </p:nvSpPr>
        <p:spPr>
          <a:xfrm>
            <a:off x="929448" y="647333"/>
            <a:ext cx="728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.3 XDCR</a:t>
            </a:r>
          </a:p>
        </p:txBody>
      </p:sp>
    </p:spTree>
    <p:extLst>
      <p:ext uri="{BB962C8B-B14F-4D97-AF65-F5344CB8AC3E}">
        <p14:creationId xmlns:p14="http://schemas.microsoft.com/office/powerpoint/2010/main" val="1397110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5231" y="1114221"/>
            <a:ext cx="7973538" cy="2915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5746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4968"/>
            <a:ext cx="9144000" cy="5128532"/>
          </a:xfrm>
          <a:prstGeom prst="rect">
            <a:avLst/>
          </a:prstGeom>
        </p:spPr>
      </p:pic>
      <p:grpSp>
        <p:nvGrpSpPr>
          <p:cNvPr id="25" name="Document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6108701" y="2181912"/>
            <a:ext cx="317500" cy="397322"/>
            <a:chOff x="2744" y="780"/>
            <a:chExt cx="2132" cy="2668"/>
          </a:xfrm>
          <a:solidFill>
            <a:schemeClr val="accent1"/>
          </a:solidFill>
        </p:grpSpPr>
        <p:sp>
          <p:nvSpPr>
            <p:cNvPr id="26" name="Freeform 19"/>
            <p:cNvSpPr>
              <a:spLocks noEditPoints="1"/>
            </p:cNvSpPr>
            <p:nvPr/>
          </p:nvSpPr>
          <p:spPr bwMode="auto">
            <a:xfrm>
              <a:off x="2744" y="795"/>
              <a:ext cx="2116" cy="2653"/>
            </a:xfrm>
            <a:custGeom>
              <a:avLst/>
              <a:gdLst>
                <a:gd name="T0" fmla="*/ 433 w 533"/>
                <a:gd name="T1" fmla="*/ 283 h 667"/>
                <a:gd name="T2" fmla="*/ 100 w 533"/>
                <a:gd name="T3" fmla="*/ 283 h 667"/>
                <a:gd name="T4" fmla="*/ 100 w 533"/>
                <a:gd name="T5" fmla="*/ 250 h 667"/>
                <a:gd name="T6" fmla="*/ 433 w 533"/>
                <a:gd name="T7" fmla="*/ 250 h 667"/>
                <a:gd name="T8" fmla="*/ 433 w 533"/>
                <a:gd name="T9" fmla="*/ 283 h 667"/>
                <a:gd name="T10" fmla="*/ 433 w 533"/>
                <a:gd name="T11" fmla="*/ 367 h 667"/>
                <a:gd name="T12" fmla="*/ 100 w 533"/>
                <a:gd name="T13" fmla="*/ 367 h 667"/>
                <a:gd name="T14" fmla="*/ 100 w 533"/>
                <a:gd name="T15" fmla="*/ 333 h 667"/>
                <a:gd name="T16" fmla="*/ 433 w 533"/>
                <a:gd name="T17" fmla="*/ 333 h 667"/>
                <a:gd name="T18" fmla="*/ 433 w 533"/>
                <a:gd name="T19" fmla="*/ 367 h 667"/>
                <a:gd name="T20" fmla="*/ 433 w 533"/>
                <a:gd name="T21" fmla="*/ 450 h 667"/>
                <a:gd name="T22" fmla="*/ 100 w 533"/>
                <a:gd name="T23" fmla="*/ 450 h 667"/>
                <a:gd name="T24" fmla="*/ 100 w 533"/>
                <a:gd name="T25" fmla="*/ 417 h 667"/>
                <a:gd name="T26" fmla="*/ 433 w 533"/>
                <a:gd name="T27" fmla="*/ 417 h 667"/>
                <a:gd name="T28" fmla="*/ 433 w 533"/>
                <a:gd name="T29" fmla="*/ 450 h 667"/>
                <a:gd name="T30" fmla="*/ 433 w 533"/>
                <a:gd name="T31" fmla="*/ 533 h 667"/>
                <a:gd name="T32" fmla="*/ 100 w 533"/>
                <a:gd name="T33" fmla="*/ 533 h 667"/>
                <a:gd name="T34" fmla="*/ 100 w 533"/>
                <a:gd name="T35" fmla="*/ 500 h 667"/>
                <a:gd name="T36" fmla="*/ 433 w 533"/>
                <a:gd name="T37" fmla="*/ 500 h 667"/>
                <a:gd name="T38" fmla="*/ 433 w 533"/>
                <a:gd name="T39" fmla="*/ 533 h 667"/>
                <a:gd name="T40" fmla="*/ 100 w 533"/>
                <a:gd name="T41" fmla="*/ 167 h 667"/>
                <a:gd name="T42" fmla="*/ 260 w 533"/>
                <a:gd name="T43" fmla="*/ 167 h 667"/>
                <a:gd name="T44" fmla="*/ 260 w 533"/>
                <a:gd name="T45" fmla="*/ 200 h 667"/>
                <a:gd name="T46" fmla="*/ 100 w 533"/>
                <a:gd name="T47" fmla="*/ 200 h 667"/>
                <a:gd name="T48" fmla="*/ 100 w 533"/>
                <a:gd name="T49" fmla="*/ 167 h 667"/>
                <a:gd name="T50" fmla="*/ 316 w 533"/>
                <a:gd name="T51" fmla="*/ 139 h 667"/>
                <a:gd name="T52" fmla="*/ 316 w 533"/>
                <a:gd name="T53" fmla="*/ 0 h 667"/>
                <a:gd name="T54" fmla="*/ 50 w 533"/>
                <a:gd name="T55" fmla="*/ 0 h 667"/>
                <a:gd name="T56" fmla="*/ 0 w 533"/>
                <a:gd name="T57" fmla="*/ 50 h 667"/>
                <a:gd name="T58" fmla="*/ 0 w 533"/>
                <a:gd name="T59" fmla="*/ 617 h 667"/>
                <a:gd name="T60" fmla="*/ 50 w 533"/>
                <a:gd name="T61" fmla="*/ 667 h 667"/>
                <a:gd name="T62" fmla="*/ 483 w 533"/>
                <a:gd name="T63" fmla="*/ 667 h 667"/>
                <a:gd name="T64" fmla="*/ 533 w 533"/>
                <a:gd name="T65" fmla="*/ 617 h 667"/>
                <a:gd name="T66" fmla="*/ 533 w 533"/>
                <a:gd name="T67" fmla="*/ 217 h 667"/>
                <a:gd name="T68" fmla="*/ 394 w 533"/>
                <a:gd name="T69" fmla="*/ 217 h 667"/>
                <a:gd name="T70" fmla="*/ 316 w 533"/>
                <a:gd name="T71" fmla="*/ 139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33" h="667">
                  <a:moveTo>
                    <a:pt x="433" y="283"/>
                  </a:moveTo>
                  <a:lnTo>
                    <a:pt x="100" y="283"/>
                  </a:lnTo>
                  <a:lnTo>
                    <a:pt x="100" y="250"/>
                  </a:lnTo>
                  <a:lnTo>
                    <a:pt x="433" y="250"/>
                  </a:lnTo>
                  <a:lnTo>
                    <a:pt x="433" y="283"/>
                  </a:lnTo>
                  <a:close/>
                  <a:moveTo>
                    <a:pt x="433" y="367"/>
                  </a:moveTo>
                  <a:lnTo>
                    <a:pt x="100" y="367"/>
                  </a:lnTo>
                  <a:lnTo>
                    <a:pt x="100" y="333"/>
                  </a:lnTo>
                  <a:lnTo>
                    <a:pt x="433" y="333"/>
                  </a:lnTo>
                  <a:lnTo>
                    <a:pt x="433" y="367"/>
                  </a:lnTo>
                  <a:close/>
                  <a:moveTo>
                    <a:pt x="433" y="450"/>
                  </a:moveTo>
                  <a:lnTo>
                    <a:pt x="100" y="450"/>
                  </a:lnTo>
                  <a:lnTo>
                    <a:pt x="100" y="417"/>
                  </a:lnTo>
                  <a:lnTo>
                    <a:pt x="433" y="417"/>
                  </a:lnTo>
                  <a:lnTo>
                    <a:pt x="433" y="450"/>
                  </a:lnTo>
                  <a:close/>
                  <a:moveTo>
                    <a:pt x="433" y="533"/>
                  </a:moveTo>
                  <a:lnTo>
                    <a:pt x="100" y="533"/>
                  </a:lnTo>
                  <a:lnTo>
                    <a:pt x="100" y="500"/>
                  </a:lnTo>
                  <a:lnTo>
                    <a:pt x="433" y="500"/>
                  </a:lnTo>
                  <a:lnTo>
                    <a:pt x="433" y="533"/>
                  </a:lnTo>
                  <a:close/>
                  <a:moveTo>
                    <a:pt x="100" y="167"/>
                  </a:moveTo>
                  <a:lnTo>
                    <a:pt x="260" y="167"/>
                  </a:lnTo>
                  <a:lnTo>
                    <a:pt x="260" y="200"/>
                  </a:lnTo>
                  <a:lnTo>
                    <a:pt x="100" y="200"/>
                  </a:lnTo>
                  <a:lnTo>
                    <a:pt x="100" y="167"/>
                  </a:lnTo>
                  <a:close/>
                  <a:moveTo>
                    <a:pt x="316" y="139"/>
                  </a:moveTo>
                  <a:lnTo>
                    <a:pt x="316" y="0"/>
                  </a:lnTo>
                  <a:lnTo>
                    <a:pt x="50" y="0"/>
                  </a:lnTo>
                  <a:cubicBezTo>
                    <a:pt x="22" y="0"/>
                    <a:pt x="0" y="22"/>
                    <a:pt x="0" y="50"/>
                  </a:cubicBezTo>
                  <a:lnTo>
                    <a:pt x="0" y="617"/>
                  </a:lnTo>
                  <a:cubicBezTo>
                    <a:pt x="0" y="644"/>
                    <a:pt x="22" y="667"/>
                    <a:pt x="50" y="667"/>
                  </a:cubicBezTo>
                  <a:lnTo>
                    <a:pt x="483" y="667"/>
                  </a:lnTo>
                  <a:cubicBezTo>
                    <a:pt x="511" y="667"/>
                    <a:pt x="533" y="644"/>
                    <a:pt x="533" y="617"/>
                  </a:cubicBezTo>
                  <a:lnTo>
                    <a:pt x="533" y="217"/>
                  </a:lnTo>
                  <a:lnTo>
                    <a:pt x="394" y="217"/>
                  </a:lnTo>
                  <a:cubicBezTo>
                    <a:pt x="351" y="217"/>
                    <a:pt x="316" y="182"/>
                    <a:pt x="316" y="1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20"/>
            <p:cNvSpPr>
              <a:spLocks/>
            </p:cNvSpPr>
            <p:nvPr/>
          </p:nvSpPr>
          <p:spPr bwMode="auto">
            <a:xfrm>
              <a:off x="4133" y="780"/>
              <a:ext cx="743" cy="743"/>
            </a:xfrm>
            <a:custGeom>
              <a:avLst/>
              <a:gdLst>
                <a:gd name="T0" fmla="*/ 0 w 187"/>
                <a:gd name="T1" fmla="*/ 143 h 187"/>
                <a:gd name="T2" fmla="*/ 44 w 187"/>
                <a:gd name="T3" fmla="*/ 187 h 187"/>
                <a:gd name="T4" fmla="*/ 187 w 187"/>
                <a:gd name="T5" fmla="*/ 187 h 187"/>
                <a:gd name="T6" fmla="*/ 0 w 187"/>
                <a:gd name="T7" fmla="*/ 0 h 187"/>
                <a:gd name="T8" fmla="*/ 0 w 187"/>
                <a:gd name="T9" fmla="*/ 14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87">
                  <a:moveTo>
                    <a:pt x="0" y="143"/>
                  </a:moveTo>
                  <a:cubicBezTo>
                    <a:pt x="0" y="167"/>
                    <a:pt x="20" y="187"/>
                    <a:pt x="44" y="187"/>
                  </a:cubicBezTo>
                  <a:lnTo>
                    <a:pt x="187" y="187"/>
                  </a:lnTo>
                  <a:lnTo>
                    <a:pt x="0" y="0"/>
                  </a:lnTo>
                  <a:lnTo>
                    <a:pt x="0" y="143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0" name="Document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000237" y="2385391"/>
            <a:ext cx="391242" cy="489604"/>
            <a:chOff x="2744" y="780"/>
            <a:chExt cx="2132" cy="2668"/>
          </a:xfrm>
          <a:solidFill>
            <a:schemeClr val="accent1"/>
          </a:solidFill>
        </p:grpSpPr>
        <p:sp>
          <p:nvSpPr>
            <p:cNvPr id="41" name="Freeform 19"/>
            <p:cNvSpPr>
              <a:spLocks noEditPoints="1"/>
            </p:cNvSpPr>
            <p:nvPr/>
          </p:nvSpPr>
          <p:spPr bwMode="auto">
            <a:xfrm>
              <a:off x="2744" y="795"/>
              <a:ext cx="2116" cy="2653"/>
            </a:xfrm>
            <a:custGeom>
              <a:avLst/>
              <a:gdLst>
                <a:gd name="T0" fmla="*/ 433 w 533"/>
                <a:gd name="T1" fmla="*/ 283 h 667"/>
                <a:gd name="T2" fmla="*/ 100 w 533"/>
                <a:gd name="T3" fmla="*/ 283 h 667"/>
                <a:gd name="T4" fmla="*/ 100 w 533"/>
                <a:gd name="T5" fmla="*/ 250 h 667"/>
                <a:gd name="T6" fmla="*/ 433 w 533"/>
                <a:gd name="T7" fmla="*/ 250 h 667"/>
                <a:gd name="T8" fmla="*/ 433 w 533"/>
                <a:gd name="T9" fmla="*/ 283 h 667"/>
                <a:gd name="T10" fmla="*/ 433 w 533"/>
                <a:gd name="T11" fmla="*/ 367 h 667"/>
                <a:gd name="T12" fmla="*/ 100 w 533"/>
                <a:gd name="T13" fmla="*/ 367 h 667"/>
                <a:gd name="T14" fmla="*/ 100 w 533"/>
                <a:gd name="T15" fmla="*/ 333 h 667"/>
                <a:gd name="T16" fmla="*/ 433 w 533"/>
                <a:gd name="T17" fmla="*/ 333 h 667"/>
                <a:gd name="T18" fmla="*/ 433 w 533"/>
                <a:gd name="T19" fmla="*/ 367 h 667"/>
                <a:gd name="T20" fmla="*/ 433 w 533"/>
                <a:gd name="T21" fmla="*/ 450 h 667"/>
                <a:gd name="T22" fmla="*/ 100 w 533"/>
                <a:gd name="T23" fmla="*/ 450 h 667"/>
                <a:gd name="T24" fmla="*/ 100 w 533"/>
                <a:gd name="T25" fmla="*/ 417 h 667"/>
                <a:gd name="T26" fmla="*/ 433 w 533"/>
                <a:gd name="T27" fmla="*/ 417 h 667"/>
                <a:gd name="T28" fmla="*/ 433 w 533"/>
                <a:gd name="T29" fmla="*/ 450 h 667"/>
                <a:gd name="T30" fmla="*/ 433 w 533"/>
                <a:gd name="T31" fmla="*/ 533 h 667"/>
                <a:gd name="T32" fmla="*/ 100 w 533"/>
                <a:gd name="T33" fmla="*/ 533 h 667"/>
                <a:gd name="T34" fmla="*/ 100 w 533"/>
                <a:gd name="T35" fmla="*/ 500 h 667"/>
                <a:gd name="T36" fmla="*/ 433 w 533"/>
                <a:gd name="T37" fmla="*/ 500 h 667"/>
                <a:gd name="T38" fmla="*/ 433 w 533"/>
                <a:gd name="T39" fmla="*/ 533 h 667"/>
                <a:gd name="T40" fmla="*/ 100 w 533"/>
                <a:gd name="T41" fmla="*/ 167 h 667"/>
                <a:gd name="T42" fmla="*/ 260 w 533"/>
                <a:gd name="T43" fmla="*/ 167 h 667"/>
                <a:gd name="T44" fmla="*/ 260 w 533"/>
                <a:gd name="T45" fmla="*/ 200 h 667"/>
                <a:gd name="T46" fmla="*/ 100 w 533"/>
                <a:gd name="T47" fmla="*/ 200 h 667"/>
                <a:gd name="T48" fmla="*/ 100 w 533"/>
                <a:gd name="T49" fmla="*/ 167 h 667"/>
                <a:gd name="T50" fmla="*/ 316 w 533"/>
                <a:gd name="T51" fmla="*/ 139 h 667"/>
                <a:gd name="T52" fmla="*/ 316 w 533"/>
                <a:gd name="T53" fmla="*/ 0 h 667"/>
                <a:gd name="T54" fmla="*/ 50 w 533"/>
                <a:gd name="T55" fmla="*/ 0 h 667"/>
                <a:gd name="T56" fmla="*/ 0 w 533"/>
                <a:gd name="T57" fmla="*/ 50 h 667"/>
                <a:gd name="T58" fmla="*/ 0 w 533"/>
                <a:gd name="T59" fmla="*/ 617 h 667"/>
                <a:gd name="T60" fmla="*/ 50 w 533"/>
                <a:gd name="T61" fmla="*/ 667 h 667"/>
                <a:gd name="T62" fmla="*/ 483 w 533"/>
                <a:gd name="T63" fmla="*/ 667 h 667"/>
                <a:gd name="T64" fmla="*/ 533 w 533"/>
                <a:gd name="T65" fmla="*/ 617 h 667"/>
                <a:gd name="T66" fmla="*/ 533 w 533"/>
                <a:gd name="T67" fmla="*/ 217 h 667"/>
                <a:gd name="T68" fmla="*/ 394 w 533"/>
                <a:gd name="T69" fmla="*/ 217 h 667"/>
                <a:gd name="T70" fmla="*/ 316 w 533"/>
                <a:gd name="T71" fmla="*/ 139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33" h="667">
                  <a:moveTo>
                    <a:pt x="433" y="283"/>
                  </a:moveTo>
                  <a:lnTo>
                    <a:pt x="100" y="283"/>
                  </a:lnTo>
                  <a:lnTo>
                    <a:pt x="100" y="250"/>
                  </a:lnTo>
                  <a:lnTo>
                    <a:pt x="433" y="250"/>
                  </a:lnTo>
                  <a:lnTo>
                    <a:pt x="433" y="283"/>
                  </a:lnTo>
                  <a:close/>
                  <a:moveTo>
                    <a:pt x="433" y="367"/>
                  </a:moveTo>
                  <a:lnTo>
                    <a:pt x="100" y="367"/>
                  </a:lnTo>
                  <a:lnTo>
                    <a:pt x="100" y="333"/>
                  </a:lnTo>
                  <a:lnTo>
                    <a:pt x="433" y="333"/>
                  </a:lnTo>
                  <a:lnTo>
                    <a:pt x="433" y="367"/>
                  </a:lnTo>
                  <a:close/>
                  <a:moveTo>
                    <a:pt x="433" y="450"/>
                  </a:moveTo>
                  <a:lnTo>
                    <a:pt x="100" y="450"/>
                  </a:lnTo>
                  <a:lnTo>
                    <a:pt x="100" y="417"/>
                  </a:lnTo>
                  <a:lnTo>
                    <a:pt x="433" y="417"/>
                  </a:lnTo>
                  <a:lnTo>
                    <a:pt x="433" y="450"/>
                  </a:lnTo>
                  <a:close/>
                  <a:moveTo>
                    <a:pt x="433" y="533"/>
                  </a:moveTo>
                  <a:lnTo>
                    <a:pt x="100" y="533"/>
                  </a:lnTo>
                  <a:lnTo>
                    <a:pt x="100" y="500"/>
                  </a:lnTo>
                  <a:lnTo>
                    <a:pt x="433" y="500"/>
                  </a:lnTo>
                  <a:lnTo>
                    <a:pt x="433" y="533"/>
                  </a:lnTo>
                  <a:close/>
                  <a:moveTo>
                    <a:pt x="100" y="167"/>
                  </a:moveTo>
                  <a:lnTo>
                    <a:pt x="260" y="167"/>
                  </a:lnTo>
                  <a:lnTo>
                    <a:pt x="260" y="200"/>
                  </a:lnTo>
                  <a:lnTo>
                    <a:pt x="100" y="200"/>
                  </a:lnTo>
                  <a:lnTo>
                    <a:pt x="100" y="167"/>
                  </a:lnTo>
                  <a:close/>
                  <a:moveTo>
                    <a:pt x="316" y="139"/>
                  </a:moveTo>
                  <a:lnTo>
                    <a:pt x="316" y="0"/>
                  </a:lnTo>
                  <a:lnTo>
                    <a:pt x="50" y="0"/>
                  </a:lnTo>
                  <a:cubicBezTo>
                    <a:pt x="22" y="0"/>
                    <a:pt x="0" y="22"/>
                    <a:pt x="0" y="50"/>
                  </a:cubicBezTo>
                  <a:lnTo>
                    <a:pt x="0" y="617"/>
                  </a:lnTo>
                  <a:cubicBezTo>
                    <a:pt x="0" y="644"/>
                    <a:pt x="22" y="667"/>
                    <a:pt x="50" y="667"/>
                  </a:cubicBezTo>
                  <a:lnTo>
                    <a:pt x="483" y="667"/>
                  </a:lnTo>
                  <a:cubicBezTo>
                    <a:pt x="511" y="667"/>
                    <a:pt x="533" y="644"/>
                    <a:pt x="533" y="617"/>
                  </a:cubicBezTo>
                  <a:lnTo>
                    <a:pt x="533" y="217"/>
                  </a:lnTo>
                  <a:lnTo>
                    <a:pt x="394" y="217"/>
                  </a:lnTo>
                  <a:cubicBezTo>
                    <a:pt x="351" y="217"/>
                    <a:pt x="316" y="182"/>
                    <a:pt x="316" y="1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20"/>
            <p:cNvSpPr>
              <a:spLocks/>
            </p:cNvSpPr>
            <p:nvPr/>
          </p:nvSpPr>
          <p:spPr bwMode="auto">
            <a:xfrm>
              <a:off x="4133" y="780"/>
              <a:ext cx="743" cy="743"/>
            </a:xfrm>
            <a:custGeom>
              <a:avLst/>
              <a:gdLst>
                <a:gd name="T0" fmla="*/ 0 w 187"/>
                <a:gd name="T1" fmla="*/ 143 h 187"/>
                <a:gd name="T2" fmla="*/ 44 w 187"/>
                <a:gd name="T3" fmla="*/ 187 h 187"/>
                <a:gd name="T4" fmla="*/ 187 w 187"/>
                <a:gd name="T5" fmla="*/ 187 h 187"/>
                <a:gd name="T6" fmla="*/ 0 w 187"/>
                <a:gd name="T7" fmla="*/ 0 h 187"/>
                <a:gd name="T8" fmla="*/ 0 w 187"/>
                <a:gd name="T9" fmla="*/ 14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87">
                  <a:moveTo>
                    <a:pt x="0" y="143"/>
                  </a:moveTo>
                  <a:cubicBezTo>
                    <a:pt x="0" y="167"/>
                    <a:pt x="20" y="187"/>
                    <a:pt x="44" y="187"/>
                  </a:cubicBezTo>
                  <a:lnTo>
                    <a:pt x="187" y="187"/>
                  </a:lnTo>
                  <a:lnTo>
                    <a:pt x="0" y="0"/>
                  </a:lnTo>
                  <a:lnTo>
                    <a:pt x="0" y="143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3" name="Document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332137" y="2557800"/>
            <a:ext cx="409986" cy="513060"/>
            <a:chOff x="2744" y="780"/>
            <a:chExt cx="2132" cy="2668"/>
          </a:xfrm>
          <a:solidFill>
            <a:schemeClr val="accent1"/>
          </a:solidFill>
        </p:grpSpPr>
        <p:sp>
          <p:nvSpPr>
            <p:cNvPr id="44" name="Freeform 19"/>
            <p:cNvSpPr>
              <a:spLocks noEditPoints="1"/>
            </p:cNvSpPr>
            <p:nvPr/>
          </p:nvSpPr>
          <p:spPr bwMode="auto">
            <a:xfrm>
              <a:off x="2744" y="795"/>
              <a:ext cx="2116" cy="2653"/>
            </a:xfrm>
            <a:custGeom>
              <a:avLst/>
              <a:gdLst>
                <a:gd name="T0" fmla="*/ 433 w 533"/>
                <a:gd name="T1" fmla="*/ 283 h 667"/>
                <a:gd name="T2" fmla="*/ 100 w 533"/>
                <a:gd name="T3" fmla="*/ 283 h 667"/>
                <a:gd name="T4" fmla="*/ 100 w 533"/>
                <a:gd name="T5" fmla="*/ 250 h 667"/>
                <a:gd name="T6" fmla="*/ 433 w 533"/>
                <a:gd name="T7" fmla="*/ 250 h 667"/>
                <a:gd name="T8" fmla="*/ 433 w 533"/>
                <a:gd name="T9" fmla="*/ 283 h 667"/>
                <a:gd name="T10" fmla="*/ 433 w 533"/>
                <a:gd name="T11" fmla="*/ 367 h 667"/>
                <a:gd name="T12" fmla="*/ 100 w 533"/>
                <a:gd name="T13" fmla="*/ 367 h 667"/>
                <a:gd name="T14" fmla="*/ 100 w 533"/>
                <a:gd name="T15" fmla="*/ 333 h 667"/>
                <a:gd name="T16" fmla="*/ 433 w 533"/>
                <a:gd name="T17" fmla="*/ 333 h 667"/>
                <a:gd name="T18" fmla="*/ 433 w 533"/>
                <a:gd name="T19" fmla="*/ 367 h 667"/>
                <a:gd name="T20" fmla="*/ 433 w 533"/>
                <a:gd name="T21" fmla="*/ 450 h 667"/>
                <a:gd name="T22" fmla="*/ 100 w 533"/>
                <a:gd name="T23" fmla="*/ 450 h 667"/>
                <a:gd name="T24" fmla="*/ 100 w 533"/>
                <a:gd name="T25" fmla="*/ 417 h 667"/>
                <a:gd name="T26" fmla="*/ 433 w 533"/>
                <a:gd name="T27" fmla="*/ 417 h 667"/>
                <a:gd name="T28" fmla="*/ 433 w 533"/>
                <a:gd name="T29" fmla="*/ 450 h 667"/>
                <a:gd name="T30" fmla="*/ 433 w 533"/>
                <a:gd name="T31" fmla="*/ 533 h 667"/>
                <a:gd name="T32" fmla="*/ 100 w 533"/>
                <a:gd name="T33" fmla="*/ 533 h 667"/>
                <a:gd name="T34" fmla="*/ 100 w 533"/>
                <a:gd name="T35" fmla="*/ 500 h 667"/>
                <a:gd name="T36" fmla="*/ 433 w 533"/>
                <a:gd name="T37" fmla="*/ 500 h 667"/>
                <a:gd name="T38" fmla="*/ 433 w 533"/>
                <a:gd name="T39" fmla="*/ 533 h 667"/>
                <a:gd name="T40" fmla="*/ 100 w 533"/>
                <a:gd name="T41" fmla="*/ 167 h 667"/>
                <a:gd name="T42" fmla="*/ 260 w 533"/>
                <a:gd name="T43" fmla="*/ 167 h 667"/>
                <a:gd name="T44" fmla="*/ 260 w 533"/>
                <a:gd name="T45" fmla="*/ 200 h 667"/>
                <a:gd name="T46" fmla="*/ 100 w 533"/>
                <a:gd name="T47" fmla="*/ 200 h 667"/>
                <a:gd name="T48" fmla="*/ 100 w 533"/>
                <a:gd name="T49" fmla="*/ 167 h 667"/>
                <a:gd name="T50" fmla="*/ 316 w 533"/>
                <a:gd name="T51" fmla="*/ 139 h 667"/>
                <a:gd name="T52" fmla="*/ 316 w 533"/>
                <a:gd name="T53" fmla="*/ 0 h 667"/>
                <a:gd name="T54" fmla="*/ 50 w 533"/>
                <a:gd name="T55" fmla="*/ 0 h 667"/>
                <a:gd name="T56" fmla="*/ 0 w 533"/>
                <a:gd name="T57" fmla="*/ 50 h 667"/>
                <a:gd name="T58" fmla="*/ 0 w 533"/>
                <a:gd name="T59" fmla="*/ 617 h 667"/>
                <a:gd name="T60" fmla="*/ 50 w 533"/>
                <a:gd name="T61" fmla="*/ 667 h 667"/>
                <a:gd name="T62" fmla="*/ 483 w 533"/>
                <a:gd name="T63" fmla="*/ 667 h 667"/>
                <a:gd name="T64" fmla="*/ 533 w 533"/>
                <a:gd name="T65" fmla="*/ 617 h 667"/>
                <a:gd name="T66" fmla="*/ 533 w 533"/>
                <a:gd name="T67" fmla="*/ 217 h 667"/>
                <a:gd name="T68" fmla="*/ 394 w 533"/>
                <a:gd name="T69" fmla="*/ 217 h 667"/>
                <a:gd name="T70" fmla="*/ 316 w 533"/>
                <a:gd name="T71" fmla="*/ 139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33" h="667">
                  <a:moveTo>
                    <a:pt x="433" y="283"/>
                  </a:moveTo>
                  <a:lnTo>
                    <a:pt x="100" y="283"/>
                  </a:lnTo>
                  <a:lnTo>
                    <a:pt x="100" y="250"/>
                  </a:lnTo>
                  <a:lnTo>
                    <a:pt x="433" y="250"/>
                  </a:lnTo>
                  <a:lnTo>
                    <a:pt x="433" y="283"/>
                  </a:lnTo>
                  <a:close/>
                  <a:moveTo>
                    <a:pt x="433" y="367"/>
                  </a:moveTo>
                  <a:lnTo>
                    <a:pt x="100" y="367"/>
                  </a:lnTo>
                  <a:lnTo>
                    <a:pt x="100" y="333"/>
                  </a:lnTo>
                  <a:lnTo>
                    <a:pt x="433" y="333"/>
                  </a:lnTo>
                  <a:lnTo>
                    <a:pt x="433" y="367"/>
                  </a:lnTo>
                  <a:close/>
                  <a:moveTo>
                    <a:pt x="433" y="450"/>
                  </a:moveTo>
                  <a:lnTo>
                    <a:pt x="100" y="450"/>
                  </a:lnTo>
                  <a:lnTo>
                    <a:pt x="100" y="417"/>
                  </a:lnTo>
                  <a:lnTo>
                    <a:pt x="433" y="417"/>
                  </a:lnTo>
                  <a:lnTo>
                    <a:pt x="433" y="450"/>
                  </a:lnTo>
                  <a:close/>
                  <a:moveTo>
                    <a:pt x="433" y="533"/>
                  </a:moveTo>
                  <a:lnTo>
                    <a:pt x="100" y="533"/>
                  </a:lnTo>
                  <a:lnTo>
                    <a:pt x="100" y="500"/>
                  </a:lnTo>
                  <a:lnTo>
                    <a:pt x="433" y="500"/>
                  </a:lnTo>
                  <a:lnTo>
                    <a:pt x="433" y="533"/>
                  </a:lnTo>
                  <a:close/>
                  <a:moveTo>
                    <a:pt x="100" y="167"/>
                  </a:moveTo>
                  <a:lnTo>
                    <a:pt x="260" y="167"/>
                  </a:lnTo>
                  <a:lnTo>
                    <a:pt x="260" y="200"/>
                  </a:lnTo>
                  <a:lnTo>
                    <a:pt x="100" y="200"/>
                  </a:lnTo>
                  <a:lnTo>
                    <a:pt x="100" y="167"/>
                  </a:lnTo>
                  <a:close/>
                  <a:moveTo>
                    <a:pt x="316" y="139"/>
                  </a:moveTo>
                  <a:lnTo>
                    <a:pt x="316" y="0"/>
                  </a:lnTo>
                  <a:lnTo>
                    <a:pt x="50" y="0"/>
                  </a:lnTo>
                  <a:cubicBezTo>
                    <a:pt x="22" y="0"/>
                    <a:pt x="0" y="22"/>
                    <a:pt x="0" y="50"/>
                  </a:cubicBezTo>
                  <a:lnTo>
                    <a:pt x="0" y="617"/>
                  </a:lnTo>
                  <a:cubicBezTo>
                    <a:pt x="0" y="644"/>
                    <a:pt x="22" y="667"/>
                    <a:pt x="50" y="667"/>
                  </a:cubicBezTo>
                  <a:lnTo>
                    <a:pt x="483" y="667"/>
                  </a:lnTo>
                  <a:cubicBezTo>
                    <a:pt x="511" y="667"/>
                    <a:pt x="533" y="644"/>
                    <a:pt x="533" y="617"/>
                  </a:cubicBezTo>
                  <a:lnTo>
                    <a:pt x="533" y="217"/>
                  </a:lnTo>
                  <a:lnTo>
                    <a:pt x="394" y="217"/>
                  </a:lnTo>
                  <a:cubicBezTo>
                    <a:pt x="351" y="217"/>
                    <a:pt x="316" y="182"/>
                    <a:pt x="316" y="1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20"/>
            <p:cNvSpPr>
              <a:spLocks/>
            </p:cNvSpPr>
            <p:nvPr/>
          </p:nvSpPr>
          <p:spPr bwMode="auto">
            <a:xfrm>
              <a:off x="4133" y="780"/>
              <a:ext cx="743" cy="743"/>
            </a:xfrm>
            <a:custGeom>
              <a:avLst/>
              <a:gdLst>
                <a:gd name="T0" fmla="*/ 0 w 187"/>
                <a:gd name="T1" fmla="*/ 143 h 187"/>
                <a:gd name="T2" fmla="*/ 44 w 187"/>
                <a:gd name="T3" fmla="*/ 187 h 187"/>
                <a:gd name="T4" fmla="*/ 187 w 187"/>
                <a:gd name="T5" fmla="*/ 187 h 187"/>
                <a:gd name="T6" fmla="*/ 0 w 187"/>
                <a:gd name="T7" fmla="*/ 0 h 187"/>
                <a:gd name="T8" fmla="*/ 0 w 187"/>
                <a:gd name="T9" fmla="*/ 14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87">
                  <a:moveTo>
                    <a:pt x="0" y="143"/>
                  </a:moveTo>
                  <a:cubicBezTo>
                    <a:pt x="0" y="167"/>
                    <a:pt x="20" y="187"/>
                    <a:pt x="44" y="187"/>
                  </a:cubicBezTo>
                  <a:lnTo>
                    <a:pt x="187" y="187"/>
                  </a:lnTo>
                  <a:lnTo>
                    <a:pt x="0" y="0"/>
                  </a:lnTo>
                  <a:lnTo>
                    <a:pt x="0" y="143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2448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500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1.60494E-6 L -3.33333E-6 1.60494E-6 C 0.03455 -0.00092 0.15694 -0.00555 0.19722 1.60494E-6 C 0.19913 0.00031 0.19896 0.00648 0.2 0.00988 C 0.20035 0.03611 0.20052 0.06235 0.20139 0.08889 C 0.20139 0.09136 0.2026 0.09352 0.20278 0.0963 C 0.20313 0.10525 0.20278 0.1142 0.20278 0.12346 " pathEditMode="relative" ptsTypes="AAAAAAA">
                                      <p:cBhvr>
                                        <p:cTn id="6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500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569 -0.00247 L 0.02569 -0.00216 C 0.04253 -0.00586 0.03559 -0.00432 0.04653 -0.00679 C 0.04861 -0.00648 0.05087 -0.00617 0.05312 -0.00556 C 0.05399 -0.00525 0.05469 -0.00401 0.05555 -0.00401 C 0.06476 -0.00309 0.07396 -0.00309 0.08316 -0.00247 C 0.0842 -0.00185 0.08542 -0.00154 0.08646 -0.00093 C 0.08733 -0.00062 0.08802 2.46914E-7 0.08889 0.00062 C 0.09028 0.00093 0.09167 0.00154 0.09305 0.00185 C 0.10208 0.00154 0.11094 0.00062 0.11979 0.00062 C 0.1993 0.00062 0.13576 0.00062 0.16979 0.00339 C 0.17812 0.00401 0.18646 0.00432 0.19479 0.00494 C 0.20174 0.00432 0.20868 0.00432 0.21562 0.00339 C 0.21701 0.00339 0.2184 0.00247 0.21979 0.00185 C 0.22205 0.00123 0.2243 0.00093 0.22656 0.00062 C 0.22882 2.46914E-7 0.23524 -0.00216 0.23733 -0.00247 C 0.26146 -0.00463 0.27726 -0.00401 0.30243 -0.00401 L 0.30243 -0.0037 C 0.30174 0.00062 0.30139 0.00494 0.30069 0.00926 C 0.30052 0.0108 0.29983 0.01235 0.29983 0.01389 C 0.29983 0.02068 0.30017 0.02778 0.30069 0.03457 C 0.30087 0.03827 0.30174 0.04136 0.30243 0.04506 C 0.3026 0.04691 0.30295 0.04877 0.30312 0.05093 C 0.3033 0.05123 0.30312 0.05185 0.30312 0.05247 " pathEditMode="relative" rAng="0" ptsTypes="AAAAAAAAAAAAAAAAAAAAAAAA">
                                      <p:cBhvr>
                                        <p:cTn id="8" dur="2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872" y="253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500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35 0.05463 L -0.00035 0.05494 C -0.00017 0.05803 -5.55556E-7 0.06204 0.00035 0.06544 C 0.00052 0.06821 0.00087 0.07037 0.00104 0.07284 C 0.00139 0.08334 0.00139 0.09352 0.00174 0.10371 C 0.00139 0.12593 0.00122 0.14815 0.00104 0.17037 C 0.00017 0.22562 0.00035 0.17408 0.00035 0.21111 L 0.00035 0.21482 C 0.01354 0.21544 0.02656 0.21636 0.03993 0.21605 C 0.06563 0.21574 0.11684 0.21235 0.11684 0.21266 C 0.11979 0.21204 0.12257 0.21204 0.12535 0.21111 C 0.12656 0.21081 0.1276 0.20926 0.12882 0.20865 C 0.13038 0.20803 0.13195 0.20803 0.13368 0.20741 C 0.14115 0.20834 0.15451 0.20988 0.16146 0.20988 C 0.16597 0.20988 0.17066 0.20926 0.17535 0.20865 C 0.17691 0.20834 0.17986 0.20772 0.1816 0.20618 C 0.18229 0.20556 0.18281 0.20402 0.18368 0.20371 C 0.18681 0.20278 0.1901 0.20278 0.1934 0.20247 L 0.2467 0.20124 L 0.27951 0.2 L 0.28368 0.19753 " pathEditMode="relative" rAng="0" ptsTypes="AAAAAAAAAAAAAAAAAAAAA">
                                      <p:cBhvr>
                                        <p:cTn id="10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201" y="80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700" y="788987"/>
            <a:ext cx="9004300" cy="3160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25467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3654" y="1490511"/>
            <a:ext cx="5496692" cy="2162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6777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0706" y="1352380"/>
            <a:ext cx="6182588" cy="2438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38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8000" r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462954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37" b="7537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平行四边形 4"/>
          <p:cNvSpPr/>
          <p:nvPr/>
        </p:nvSpPr>
        <p:spPr>
          <a:xfrm>
            <a:off x="1398006" y="0"/>
            <a:ext cx="6534726" cy="5143500"/>
          </a:xfrm>
          <a:prstGeom prst="parallelogram">
            <a:avLst>
              <a:gd name="adj" fmla="val 26721"/>
            </a:avLst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50"/>
          </a:p>
        </p:txBody>
      </p:sp>
      <p:sp>
        <p:nvSpPr>
          <p:cNvPr id="6" name="文本框 5"/>
          <p:cNvSpPr txBox="1"/>
          <p:nvPr/>
        </p:nvSpPr>
        <p:spPr>
          <a:xfrm>
            <a:off x="690168" y="1683140"/>
            <a:ext cx="7763664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5400" dirty="0">
                <a:solidFill>
                  <a:srgbClr val="53575A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CẢM ƠN </a:t>
            </a:r>
          </a:p>
          <a:p>
            <a:pPr algn="ctr"/>
            <a:r>
              <a:rPr lang="en-US" altLang="zh-CN" sz="5400" dirty="0">
                <a:solidFill>
                  <a:srgbClr val="53575A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THẦY VÀ CÁC BẠN </a:t>
            </a:r>
          </a:p>
          <a:p>
            <a:pPr algn="ctr"/>
            <a:r>
              <a:rPr lang="en-US" altLang="zh-CN" sz="5400" dirty="0">
                <a:solidFill>
                  <a:srgbClr val="53575A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ĐÃ CHÚ Ý LẮNG NGHE</a:t>
            </a:r>
            <a:endParaRPr lang="zh-CN" altLang="en-US" sz="5400" dirty="0">
              <a:solidFill>
                <a:srgbClr val="53575A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7015" y="741711"/>
            <a:ext cx="729970" cy="729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0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6" presetClass="emph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5000" fill="hold"/>
                                        <p:tgtEl>
                                          <p:spTgt spid="4"/>
                                        </p:tgtEl>
                                      </p:cBhvr>
                                      <p:by x="115000" y="115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17" presetClass="entr" presetSubtype="1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6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decel="100000" fill="hold" grpId="0" nodeType="clickEffect">
                                  <p:stCondLst>
                                    <p:cond delay="1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FF0826A2-F4AD-431F-B86F-3B49EE8587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016FA790-A7E9-4005-9407-0D984E279B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A_图片 3">
            <a:extLst>
              <a:ext uri="{FF2B5EF4-FFF2-40B4-BE49-F238E27FC236}">
                <a16:creationId xmlns:a16="http://schemas.microsoft.com/office/drawing/2014/main" id="{8305B69F-33D7-4531-8C71-8AF4617CFB1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A_图片 3">
            <a:extLst>
              <a:ext uri="{FF2B5EF4-FFF2-40B4-BE49-F238E27FC236}">
                <a16:creationId xmlns:a16="http://schemas.microsoft.com/office/drawing/2014/main" id="{9DB700E4-2B89-4DE2-8945-A0D6EF04AB0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5" name="Hộp Văn bản 24">
            <a:extLst>
              <a:ext uri="{FF2B5EF4-FFF2-40B4-BE49-F238E27FC236}">
                <a16:creationId xmlns:a16="http://schemas.microsoft.com/office/drawing/2014/main" id="{5C46C174-F268-4987-B47F-9A971505A3DB}"/>
              </a:ext>
            </a:extLst>
          </p:cNvPr>
          <p:cNvSpPr txBox="1"/>
          <p:nvPr/>
        </p:nvSpPr>
        <p:spPr>
          <a:xfrm>
            <a:off x="1035937" y="851804"/>
            <a:ext cx="728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.1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Lịch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sử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ình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ành</a:t>
            </a:r>
            <a:endParaRPr lang="en-US" sz="2800" b="1" dirty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6" name="Hình chữ nhật 25">
            <a:extLst>
              <a:ext uri="{FF2B5EF4-FFF2-40B4-BE49-F238E27FC236}">
                <a16:creationId xmlns:a16="http://schemas.microsoft.com/office/drawing/2014/main" id="{B0ACB1AE-6A37-44B7-83BE-CED708B1B6E7}"/>
              </a:ext>
            </a:extLst>
          </p:cNvPr>
          <p:cNvSpPr/>
          <p:nvPr/>
        </p:nvSpPr>
        <p:spPr>
          <a:xfrm>
            <a:off x="0" y="0"/>
            <a:ext cx="9144000" cy="6473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1.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iới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iệu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uchbase</a:t>
            </a:r>
            <a:endParaRPr lang="en-US" sz="3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035937" y="1695087"/>
            <a:ext cx="757809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ành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ậ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ăm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009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ười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áng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ập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Chris Anderson, Damien Katz, Dustin </a:t>
            </a:r>
            <a:r>
              <a:rPr lang="en-US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allings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James Phillips, Steve Yen</a:t>
            </a:r>
          </a:p>
        </p:txBody>
      </p:sp>
    </p:spTree>
    <p:extLst>
      <p:ext uri="{BB962C8B-B14F-4D97-AF65-F5344CB8AC3E}">
        <p14:creationId xmlns:p14="http://schemas.microsoft.com/office/powerpoint/2010/main" val="514655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500"/>
                            </p:stCondLst>
                            <p:childTnLst>
                              <p:par>
                                <p:cTn id="12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FF0826A2-F4AD-431F-B86F-3B49EE8587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016FA790-A7E9-4005-9407-0D984E279B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A_图片 3">
            <a:extLst>
              <a:ext uri="{FF2B5EF4-FFF2-40B4-BE49-F238E27FC236}">
                <a16:creationId xmlns:a16="http://schemas.microsoft.com/office/drawing/2014/main" id="{8305B69F-33D7-4531-8C71-8AF4617CFB1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A_图片 3">
            <a:extLst>
              <a:ext uri="{FF2B5EF4-FFF2-40B4-BE49-F238E27FC236}">
                <a16:creationId xmlns:a16="http://schemas.microsoft.com/office/drawing/2014/main" id="{9DB700E4-2B89-4DE2-8945-A0D6EF04AB0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5" name="Hộp Văn bản 24">
            <a:extLst>
              <a:ext uri="{FF2B5EF4-FFF2-40B4-BE49-F238E27FC236}">
                <a16:creationId xmlns:a16="http://schemas.microsoft.com/office/drawing/2014/main" id="{5C46C174-F268-4987-B47F-9A971505A3DB}"/>
              </a:ext>
            </a:extLst>
          </p:cNvPr>
          <p:cNvSpPr txBox="1"/>
          <p:nvPr/>
        </p:nvSpPr>
        <p:spPr>
          <a:xfrm>
            <a:off x="1035937" y="851804"/>
            <a:ext cx="728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.2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Quá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rình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phát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riển</a:t>
            </a:r>
            <a:endParaRPr lang="en-US" sz="2800" b="1" dirty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6" name="Hình chữ nhật 25">
            <a:extLst>
              <a:ext uri="{FF2B5EF4-FFF2-40B4-BE49-F238E27FC236}">
                <a16:creationId xmlns:a16="http://schemas.microsoft.com/office/drawing/2014/main" id="{B0ACB1AE-6A37-44B7-83BE-CED708B1B6E7}"/>
              </a:ext>
            </a:extLst>
          </p:cNvPr>
          <p:cNvSpPr/>
          <p:nvPr/>
        </p:nvSpPr>
        <p:spPr>
          <a:xfrm>
            <a:off x="0" y="0"/>
            <a:ext cx="9144000" cy="6473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1.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iới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iệu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uchbase</a:t>
            </a:r>
            <a:endParaRPr lang="en-US" sz="3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36070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oup 53"/>
          <p:cNvGrpSpPr/>
          <p:nvPr/>
        </p:nvGrpSpPr>
        <p:grpSpPr>
          <a:xfrm>
            <a:off x="415290" y="304171"/>
            <a:ext cx="8580120" cy="4729407"/>
            <a:chOff x="415290" y="304171"/>
            <a:chExt cx="8580120" cy="4729407"/>
          </a:xfrm>
        </p:grpSpPr>
        <p:sp>
          <p:nvSpPr>
            <p:cNvPr id="4" name="Oval 3"/>
            <p:cNvSpPr/>
            <p:nvPr/>
          </p:nvSpPr>
          <p:spPr>
            <a:xfrm>
              <a:off x="1165860" y="316230"/>
              <a:ext cx="411480" cy="388620"/>
            </a:xfrm>
            <a:prstGeom prst="ellipse">
              <a:avLst/>
            </a:prstGeom>
            <a:solidFill>
              <a:srgbClr val="FF0000"/>
            </a:solidFill>
            <a:ln w="63500">
              <a:solidFill>
                <a:schemeClr val="bg1">
                  <a:alpha val="76000"/>
                </a:schemeClr>
              </a:solidFill>
            </a:ln>
          </p:spPr>
          <p:style>
            <a:lnRef idx="2">
              <a:schemeClr val="dk1"/>
            </a:lnRef>
            <a:fillRef idx="100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/>
            <p:cNvSpPr/>
            <p:nvPr/>
          </p:nvSpPr>
          <p:spPr>
            <a:xfrm>
              <a:off x="1165860" y="1053465"/>
              <a:ext cx="411480" cy="388620"/>
            </a:xfrm>
            <a:prstGeom prst="ellipse">
              <a:avLst/>
            </a:prstGeom>
            <a:solidFill>
              <a:srgbClr val="FF0000"/>
            </a:solidFill>
            <a:ln w="63500">
              <a:solidFill>
                <a:schemeClr val="bg1">
                  <a:alpha val="76000"/>
                </a:schemeClr>
              </a:solidFill>
            </a:ln>
          </p:spPr>
          <p:style>
            <a:lnRef idx="2">
              <a:schemeClr val="dk1"/>
            </a:lnRef>
            <a:fillRef idx="100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Oval 7"/>
            <p:cNvSpPr/>
            <p:nvPr/>
          </p:nvSpPr>
          <p:spPr>
            <a:xfrm>
              <a:off x="1165860" y="2073323"/>
              <a:ext cx="411480" cy="388620"/>
            </a:xfrm>
            <a:prstGeom prst="ellipse">
              <a:avLst/>
            </a:prstGeom>
            <a:solidFill>
              <a:srgbClr val="FF0000"/>
            </a:solidFill>
            <a:ln w="63500">
              <a:solidFill>
                <a:schemeClr val="bg1">
                  <a:alpha val="76000"/>
                </a:schemeClr>
              </a:solidFill>
            </a:ln>
          </p:spPr>
          <p:style>
            <a:lnRef idx="2">
              <a:schemeClr val="dk1"/>
            </a:lnRef>
            <a:fillRef idx="100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Oval 8"/>
            <p:cNvSpPr/>
            <p:nvPr/>
          </p:nvSpPr>
          <p:spPr>
            <a:xfrm>
              <a:off x="1165860" y="2816633"/>
              <a:ext cx="411480" cy="388620"/>
            </a:xfrm>
            <a:prstGeom prst="ellipse">
              <a:avLst/>
            </a:prstGeom>
            <a:solidFill>
              <a:srgbClr val="FF0000"/>
            </a:solidFill>
            <a:ln w="63500">
              <a:solidFill>
                <a:schemeClr val="bg1">
                  <a:alpha val="76000"/>
                </a:schemeClr>
              </a:solidFill>
            </a:ln>
          </p:spPr>
          <p:style>
            <a:lnRef idx="2">
              <a:schemeClr val="dk1"/>
            </a:lnRef>
            <a:fillRef idx="100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15290" y="304171"/>
              <a:ext cx="76200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/>
                <a:t>2011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415290" y="1032330"/>
              <a:ext cx="76200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/>
                <a:t>2012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15290" y="2040668"/>
              <a:ext cx="76200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/>
                <a:t>2014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15290" y="2752635"/>
              <a:ext cx="76200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/>
                <a:t>2015</a:t>
              </a:r>
            </a:p>
          </p:txBody>
        </p:sp>
        <p:sp>
          <p:nvSpPr>
            <p:cNvPr id="23" name="Oval 22"/>
            <p:cNvSpPr/>
            <p:nvPr/>
          </p:nvSpPr>
          <p:spPr>
            <a:xfrm>
              <a:off x="1165860" y="3646380"/>
              <a:ext cx="411480" cy="388620"/>
            </a:xfrm>
            <a:prstGeom prst="ellipse">
              <a:avLst/>
            </a:prstGeom>
            <a:solidFill>
              <a:srgbClr val="FF0000"/>
            </a:solidFill>
            <a:ln w="63500">
              <a:solidFill>
                <a:schemeClr val="bg1">
                  <a:alpha val="76000"/>
                </a:schemeClr>
              </a:solidFill>
            </a:ln>
          </p:spPr>
          <p:style>
            <a:lnRef idx="2">
              <a:schemeClr val="dk1"/>
            </a:lnRef>
            <a:fillRef idx="100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Oval 23"/>
            <p:cNvSpPr/>
            <p:nvPr/>
          </p:nvSpPr>
          <p:spPr>
            <a:xfrm>
              <a:off x="1165860" y="4365876"/>
              <a:ext cx="411480" cy="388620"/>
            </a:xfrm>
            <a:prstGeom prst="ellipse">
              <a:avLst/>
            </a:prstGeom>
            <a:solidFill>
              <a:srgbClr val="FF0000"/>
            </a:solidFill>
            <a:ln w="63500">
              <a:solidFill>
                <a:schemeClr val="bg1">
                  <a:alpha val="76000"/>
                </a:schemeClr>
              </a:solidFill>
            </a:ln>
          </p:spPr>
          <p:style>
            <a:lnRef idx="2">
              <a:schemeClr val="dk1"/>
            </a:lnRef>
            <a:fillRef idx="100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415290" y="3613725"/>
              <a:ext cx="76200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/>
                <a:t>2017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15290" y="4325692"/>
              <a:ext cx="76200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/>
                <a:t>2018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703070" y="304171"/>
              <a:ext cx="531495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Kết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hợp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Membase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và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ouchone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thành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ouchbase</a:t>
              </a:r>
              <a:endParaRPr lang="en-US" sz="2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1703070" y="1032330"/>
              <a:ext cx="729234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ouchbase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Server 2.0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huyển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đổi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ouchbase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từ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CSDL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ặp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khóa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–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giá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trị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sang CSDL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hướng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tài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liệu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JSON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1703070" y="2040668"/>
              <a:ext cx="72923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ouchbase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Mobile 1.0 – CSDL NoSQL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đầu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tiên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trên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di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động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 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703070" y="2741230"/>
              <a:ext cx="729234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ouchbase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Server 4.0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bổ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sung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ác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truy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vấn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SQL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với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N1QL (SQL for JSON)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và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Multi – Dimension Scaling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703070" y="3556544"/>
              <a:ext cx="729234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ouchbase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Server 5.0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giới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thiệu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tìm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kiếm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toàn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phần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(Full-Text Search)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và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gói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dữ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liệu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không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bền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vững</a:t>
              </a:r>
              <a:endParaRPr lang="en-US" sz="2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1703070" y="4325692"/>
              <a:ext cx="729234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Ra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mắt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ouchbase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Server 6.0,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ung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ấp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ông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ụ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phân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tích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không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ần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thông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qua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quá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trình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ETL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cho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N1QL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dựa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trên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SQL++</a:t>
              </a:r>
            </a:p>
          </p:txBody>
        </p:sp>
        <p:cxnSp>
          <p:nvCxnSpPr>
            <p:cNvPr id="38" name="Straight Connector 37"/>
            <p:cNvCxnSpPr>
              <a:stCxn id="4" idx="4"/>
              <a:endCxn id="6" idx="0"/>
            </p:cNvCxnSpPr>
            <p:nvPr/>
          </p:nvCxnSpPr>
          <p:spPr>
            <a:xfrm>
              <a:off x="1371600" y="704850"/>
              <a:ext cx="0" cy="34861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>
              <a:stCxn id="6" idx="4"/>
              <a:endCxn id="8" idx="0"/>
            </p:cNvCxnSpPr>
            <p:nvPr/>
          </p:nvCxnSpPr>
          <p:spPr>
            <a:xfrm>
              <a:off x="1371600" y="1442085"/>
              <a:ext cx="0" cy="63123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>
              <a:stCxn id="8" idx="4"/>
              <a:endCxn id="9" idx="0"/>
            </p:cNvCxnSpPr>
            <p:nvPr/>
          </p:nvCxnSpPr>
          <p:spPr>
            <a:xfrm>
              <a:off x="1371600" y="2461943"/>
              <a:ext cx="0" cy="35469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>
              <a:stCxn id="9" idx="4"/>
              <a:endCxn id="23" idx="0"/>
            </p:cNvCxnSpPr>
            <p:nvPr/>
          </p:nvCxnSpPr>
          <p:spPr>
            <a:xfrm>
              <a:off x="1371600" y="3205253"/>
              <a:ext cx="0" cy="44112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>
              <a:stCxn id="23" idx="4"/>
              <a:endCxn id="24" idx="0"/>
            </p:cNvCxnSpPr>
            <p:nvPr/>
          </p:nvCxnSpPr>
          <p:spPr>
            <a:xfrm>
              <a:off x="1371600" y="4035000"/>
              <a:ext cx="0" cy="33087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718980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FF0826A2-F4AD-431F-B86F-3B49EE8587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016FA790-A7E9-4005-9407-0D984E279B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A_图片 3">
            <a:extLst>
              <a:ext uri="{FF2B5EF4-FFF2-40B4-BE49-F238E27FC236}">
                <a16:creationId xmlns:a16="http://schemas.microsoft.com/office/drawing/2014/main" id="{8305B69F-33D7-4531-8C71-8AF4617CFB1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A_图片 3">
            <a:extLst>
              <a:ext uri="{FF2B5EF4-FFF2-40B4-BE49-F238E27FC236}">
                <a16:creationId xmlns:a16="http://schemas.microsoft.com/office/drawing/2014/main" id="{9DB700E4-2B89-4DE2-8945-A0D6EF04AB0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5" name="Hộp Văn bản 24">
            <a:extLst>
              <a:ext uri="{FF2B5EF4-FFF2-40B4-BE49-F238E27FC236}">
                <a16:creationId xmlns:a16="http://schemas.microsoft.com/office/drawing/2014/main" id="{5C46C174-F268-4987-B47F-9A971505A3DB}"/>
              </a:ext>
            </a:extLst>
          </p:cNvPr>
          <p:cNvSpPr txBox="1"/>
          <p:nvPr/>
        </p:nvSpPr>
        <p:spPr>
          <a:xfrm>
            <a:off x="1035937" y="851804"/>
            <a:ext cx="7285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.1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ác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loại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ơ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sở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ữ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liệu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NoSQL</a:t>
            </a:r>
          </a:p>
        </p:txBody>
      </p:sp>
      <p:sp>
        <p:nvSpPr>
          <p:cNvPr id="26" name="Hình chữ nhật 25">
            <a:extLst>
              <a:ext uri="{FF2B5EF4-FFF2-40B4-BE49-F238E27FC236}">
                <a16:creationId xmlns:a16="http://schemas.microsoft.com/office/drawing/2014/main" id="{B0ACB1AE-6A37-44B7-83BE-CED708B1B6E7}"/>
              </a:ext>
            </a:extLst>
          </p:cNvPr>
          <p:cNvSpPr/>
          <p:nvPr/>
        </p:nvSpPr>
        <p:spPr>
          <a:xfrm>
            <a:off x="0" y="0"/>
            <a:ext cx="9144000" cy="6473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2.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ô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ưu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ữ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ữ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iệu</a:t>
            </a:r>
            <a:endParaRPr lang="en-US" sz="3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676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500"/>
                            </p:stCondLst>
                            <p:childTnLst>
                              <p:par>
                                <p:cTn id="12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5237803"/>
          </a:xfrm>
        </p:spPr>
      </p:pic>
    </p:spTree>
    <p:extLst>
      <p:ext uri="{BB962C8B-B14F-4D97-AF65-F5344CB8AC3E}">
        <p14:creationId xmlns:p14="http://schemas.microsoft.com/office/powerpoint/2010/main" val="28981303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FF0826A2-F4AD-431F-B86F-3B49EE8587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016FA790-A7E9-4005-9407-0D984E279B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A_图片 3">
            <a:extLst>
              <a:ext uri="{FF2B5EF4-FFF2-40B4-BE49-F238E27FC236}">
                <a16:creationId xmlns:a16="http://schemas.microsoft.com/office/drawing/2014/main" id="{8305B69F-33D7-4531-8C71-8AF4617CFB1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A_图片 3">
            <a:extLst>
              <a:ext uri="{FF2B5EF4-FFF2-40B4-BE49-F238E27FC236}">
                <a16:creationId xmlns:a16="http://schemas.microsoft.com/office/drawing/2014/main" id="{9DB700E4-2B89-4DE2-8945-A0D6EF04AB0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5" name="Hộp Văn bản 24">
            <a:extLst>
              <a:ext uri="{FF2B5EF4-FFF2-40B4-BE49-F238E27FC236}">
                <a16:creationId xmlns:a16="http://schemas.microsoft.com/office/drawing/2014/main" id="{5C46C174-F268-4987-B47F-9A971505A3DB}"/>
              </a:ext>
            </a:extLst>
          </p:cNvPr>
          <p:cNvSpPr txBox="1"/>
          <p:nvPr/>
        </p:nvSpPr>
        <p:spPr>
          <a:xfrm>
            <a:off x="1035937" y="851804"/>
            <a:ext cx="728510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.2 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ơ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sở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ữ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liệu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ướng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ài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liệu</a:t>
            </a: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(Document Store)</a:t>
            </a:r>
          </a:p>
        </p:txBody>
      </p:sp>
      <p:sp>
        <p:nvSpPr>
          <p:cNvPr id="26" name="Hình chữ nhật 25">
            <a:extLst>
              <a:ext uri="{FF2B5EF4-FFF2-40B4-BE49-F238E27FC236}">
                <a16:creationId xmlns:a16="http://schemas.microsoft.com/office/drawing/2014/main" id="{B0ACB1AE-6A37-44B7-83BE-CED708B1B6E7}"/>
              </a:ext>
            </a:extLst>
          </p:cNvPr>
          <p:cNvSpPr/>
          <p:nvPr/>
        </p:nvSpPr>
        <p:spPr>
          <a:xfrm>
            <a:off x="0" y="0"/>
            <a:ext cx="9144000" cy="6473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2.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ô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ình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ưu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ữ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ữ</a:t>
            </a:r>
            <a:r>
              <a:rPr lang="en-US" sz="3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iệu</a:t>
            </a:r>
            <a:endParaRPr lang="en-US" sz="3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02970" y="2468530"/>
            <a:ext cx="7338060" cy="584775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txBody>
          <a:bodyPr wrap="square" rtlCol="0">
            <a:spAutoFit/>
          </a:bodyPr>
          <a:lstStyle/>
          <a:p>
            <a:r>
              <a:rPr lang="en-US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ơ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ở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ữ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iệu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iệu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ướng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ài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iệu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en-US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à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ì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1652522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500"/>
                            </p:stCondLst>
                            <p:childTnLst>
                              <p:par>
                                <p:cTn id="12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UIDATA" val="&lt;database version=&quot;11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Slide 1&quot;/&gt;&lt;property id=&quot;20307&quot; value=&quot;304&quot;/&gt;&lt;/object&gt;&lt;object type=&quot;3&quot; unique_id=&quot;10004&quot;&gt;&lt;property id=&quot;20148&quot; value=&quot;5&quot;/&gt;&lt;property id=&quot;20300&quot; value=&quot;Slide 2&quot;/&gt;&lt;property id=&quot;20307&quot; value=&quot;343&quot;/&gt;&lt;/object&gt;&lt;object type=&quot;3&quot; unique_id=&quot;10005&quot;&gt;&lt;property id=&quot;20148&quot; value=&quot;5&quot;/&gt;&lt;property id=&quot;20300&quot; value=&quot;Slide 3&quot;/&gt;&lt;property id=&quot;20307&quot; value=&quot;344&quot;/&gt;&lt;/object&gt;&lt;object type=&quot;3&quot; unique_id=&quot;10006&quot;&gt;&lt;property id=&quot;20148&quot; value=&quot;5&quot;/&gt;&lt;property id=&quot;20300&quot; value=&quot;Slide 4&quot;/&gt;&lt;property id=&quot;20307&quot; value=&quot;308&quot;/&gt;&lt;/object&gt;&lt;object type=&quot;3&quot; unique_id=&quot;10007&quot;&gt;&lt;property id=&quot;20148&quot; value=&quot;5&quot;/&gt;&lt;property id=&quot;20300&quot; value=&quot;Slide 5&quot;/&gt;&lt;property id=&quot;20307&quot; value=&quot;346&quot;/&gt;&lt;/object&gt;&lt;object type=&quot;3&quot; unique_id=&quot;10008&quot;&gt;&lt;property id=&quot;20148&quot; value=&quot;5&quot;/&gt;&lt;property id=&quot;20300&quot; value=&quot;Slide 6&quot;/&gt;&lt;property id=&quot;20307&quot; value=&quot;345&quot;/&gt;&lt;/object&gt;&lt;object type=&quot;3&quot; unique_id=&quot;10009&quot;&gt;&lt;property id=&quot;20148&quot; value=&quot;5&quot;/&gt;&lt;property id=&quot;20300&quot; value=&quot;Slide 7&quot;/&gt;&lt;property id=&quot;20307&quot; value=&quot;347&quot;/&gt;&lt;/object&gt;&lt;object type=&quot;3&quot; unique_id=&quot;10010&quot;&gt;&lt;property id=&quot;20148&quot; value=&quot;5&quot;/&gt;&lt;property id=&quot;20300&quot; value=&quot;Slide 8&quot;/&gt;&lt;property id=&quot;20307&quot; value=&quot;348&quot;/&gt;&lt;/object&gt;&lt;object type=&quot;3&quot; unique_id=&quot;10011&quot;&gt;&lt;property id=&quot;20148&quot; value=&quot;5&quot;/&gt;&lt;property id=&quot;20300&quot; value=&quot;Slide 9&quot;/&gt;&lt;property id=&quot;20307&quot; value=&quot;349&quot;/&gt;&lt;/object&gt;&lt;object type=&quot;3&quot; unique_id=&quot;10012&quot;&gt;&lt;property id=&quot;20148&quot; value=&quot;5&quot;/&gt;&lt;property id=&quot;20300&quot; value=&quot;Slide 10&quot;/&gt;&lt;property id=&quot;20307&quot; value=&quot;352&quot;/&gt;&lt;/object&gt;&lt;object type=&quot;3&quot; unique_id=&quot;10013&quot;&gt;&lt;property id=&quot;20148&quot; value=&quot;5&quot;/&gt;&lt;property id=&quot;20300&quot; value=&quot;Slide 11&quot;/&gt;&lt;property id=&quot;20307&quot; value=&quot;353&quot;/&gt;&lt;/object&gt;&lt;object type=&quot;3&quot; unique_id=&quot;10014&quot;&gt;&lt;property id=&quot;20148&quot; value=&quot;5&quot;/&gt;&lt;property id=&quot;20300&quot; value=&quot;Slide 12&quot;/&gt;&lt;property id=&quot;20307&quot; value=&quot;356&quot;/&gt;&lt;/object&gt;&lt;object type=&quot;3&quot; unique_id=&quot;10015&quot;&gt;&lt;property id=&quot;20148&quot; value=&quot;5&quot;/&gt;&lt;property id=&quot;20300&quot; value=&quot;Slide 13&quot;/&gt;&lt;property id=&quot;20307&quot; value=&quot;354&quot;/&gt;&lt;/object&gt;&lt;object type=&quot;3&quot; unique_id=&quot;10016&quot;&gt;&lt;property id=&quot;20148&quot; value=&quot;5&quot;/&gt;&lt;property id=&quot;20300&quot; value=&quot;Slide 14&quot;/&gt;&lt;property id=&quot;20307&quot; value=&quot;355&quot;/&gt;&lt;/object&gt;&lt;object type=&quot;3&quot; unique_id=&quot;10017&quot;&gt;&lt;property id=&quot;20148&quot; value=&quot;5&quot;/&gt;&lt;property id=&quot;20300&quot; value=&quot;Slide 15&quot;/&gt;&lt;property id=&quot;20307&quot; value=&quot;371&quot;/&gt;&lt;/object&gt;&lt;object type=&quot;3&quot; unique_id=&quot;10018&quot;&gt;&lt;property id=&quot;20148&quot; value=&quot;5&quot;/&gt;&lt;property id=&quot;20300&quot; value=&quot;Slide 16&quot;/&gt;&lt;property id=&quot;20307&quot; value=&quot;370&quot;/&gt;&lt;/object&gt;&lt;object type=&quot;3&quot; unique_id=&quot;10019&quot;&gt;&lt;property id=&quot;20148&quot; value=&quot;5&quot;/&gt;&lt;property id=&quot;20300&quot; value=&quot;Slide 17&quot;/&gt;&lt;property id=&quot;20307&quot; value=&quot;367&quot;/&gt;&lt;/object&gt;&lt;object type=&quot;3&quot; unique_id=&quot;10020&quot;&gt;&lt;property id=&quot;20148&quot; value=&quot;5&quot;/&gt;&lt;property id=&quot;20300&quot; value=&quot;Slide 18&quot;/&gt;&lt;property id=&quot;20307&quot; value=&quot;373&quot;/&gt;&lt;/object&gt;&lt;object type=&quot;3&quot; unique_id=&quot;10021&quot;&gt;&lt;property id=&quot;20148&quot; value=&quot;5&quot;/&gt;&lt;property id=&quot;20300&quot; value=&quot;Slide 19&quot;/&gt;&lt;property id=&quot;20307&quot; value=&quot;374&quot;/&gt;&lt;/object&gt;&lt;object type=&quot;3&quot; unique_id=&quot;10022&quot;&gt;&lt;property id=&quot;20148&quot; value=&quot;5&quot;/&gt;&lt;property id=&quot;20300&quot; value=&quot;Slide 20&quot;/&gt;&lt;property id=&quot;20307&quot; value=&quot;389&quot;/&gt;&lt;/object&gt;&lt;object type=&quot;3&quot; unique_id=&quot;10023&quot;&gt;&lt;property id=&quot;20148&quot; value=&quot;5&quot;/&gt;&lt;property id=&quot;20300&quot; value=&quot;Slide 21&quot;/&gt;&lt;property id=&quot;20307&quot; value=&quot;375&quot;/&gt;&lt;/object&gt;&lt;object type=&quot;3&quot; unique_id=&quot;10024&quot;&gt;&lt;property id=&quot;20148&quot; value=&quot;5&quot;/&gt;&lt;property id=&quot;20300&quot; value=&quot;Slide 22&quot;/&gt;&lt;property id=&quot;20307&quot; value=&quot;377&quot;/&gt;&lt;/object&gt;&lt;object type=&quot;3&quot; unique_id=&quot;10025&quot;&gt;&lt;property id=&quot;20148&quot; value=&quot;5&quot;/&gt;&lt;property id=&quot;20300&quot; value=&quot;Slide 23&quot;/&gt;&lt;property id=&quot;20307&quot; value=&quot;378&quot;/&gt;&lt;/object&gt;&lt;object type=&quot;3&quot; unique_id=&quot;10026&quot;&gt;&lt;property id=&quot;20148&quot; value=&quot;5&quot;/&gt;&lt;property id=&quot;20300&quot; value=&quot;Slide 24&quot;/&gt;&lt;property id=&quot;20307&quot; value=&quot;381&quot;/&gt;&lt;/object&gt;&lt;object type=&quot;3&quot; unique_id=&quot;10027&quot;&gt;&lt;property id=&quot;20148&quot; value=&quot;5&quot;/&gt;&lt;property id=&quot;20300&quot; value=&quot;Slide 25&quot;/&gt;&lt;property id=&quot;20307&quot; value=&quot;384&quot;/&gt;&lt;/object&gt;&lt;object type=&quot;3&quot; unique_id=&quot;10028&quot;&gt;&lt;property id=&quot;20148&quot; value=&quot;5&quot;/&gt;&lt;property id=&quot;20300&quot; value=&quot;Slide 26&quot;/&gt;&lt;property id=&quot;20307&quot; value=&quot;382&quot;/&gt;&lt;/object&gt;&lt;object type=&quot;3&quot; unique_id=&quot;10029&quot;&gt;&lt;property id=&quot;20148&quot; value=&quot;5&quot;/&gt;&lt;property id=&quot;20300&quot; value=&quot;Slide 27&quot;/&gt;&lt;property id=&quot;20307&quot; value=&quot;383&quot;/&gt;&lt;/object&gt;&lt;object type=&quot;3&quot; unique_id=&quot;10030&quot;&gt;&lt;property id=&quot;20148&quot; value=&quot;5&quot;/&gt;&lt;property id=&quot;20300&quot; value=&quot;Slide 28&quot;/&gt;&lt;property id=&quot;20307&quot; value=&quot;386&quot;/&gt;&lt;/object&gt;&lt;object type=&quot;3&quot; unique_id=&quot;10031&quot;&gt;&lt;property id=&quot;20148&quot; value=&quot;5&quot;/&gt;&lt;property id=&quot;20300&quot; value=&quot;Slide 29&quot;/&gt;&lt;property id=&quot;20307&quot; value=&quot;387&quot;/&gt;&lt;/object&gt;&lt;object type=&quot;3&quot; unique_id=&quot;10032&quot;&gt;&lt;property id=&quot;20148&quot; value=&quot;5&quot;/&gt;&lt;property id=&quot;20300&quot; value=&quot;Slide 30&quot;/&gt;&lt;property id=&quot;20307&quot; value=&quot;303&quot;/&gt;&lt;/object&gt;&lt;/object&gt;&lt;object type=&quot;8&quot; unique_id=&quot;10064&quot;&gt;&lt;/object&gt;&lt;/object&gt;&lt;/database&gt;"/>
  <p:tag name="MMPROD_NEXTUNIQUEID" val="10009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3.0.1"/>
</p:tagLst>
</file>

<file path=ppt/theme/theme1.xml><?xml version="1.0" encoding="utf-8"?>
<a:theme xmlns:a="http://schemas.openxmlformats.org/drawingml/2006/main" name="Kent template">
  <a:themeElements>
    <a:clrScheme name="Custom 347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3A81BA"/>
      </a:accent1>
      <a:accent2>
        <a:srgbClr val="D89F39"/>
      </a:accent2>
      <a:accent3>
        <a:srgbClr val="8BAB42"/>
      </a:accent3>
      <a:accent4>
        <a:srgbClr val="57A7B5"/>
      </a:accent4>
      <a:accent5>
        <a:srgbClr val="8B81D2"/>
      </a:accent5>
      <a:accent6>
        <a:srgbClr val="963334"/>
      </a:accent6>
      <a:hlink>
        <a:srgbClr val="1155CC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Tài liệu" ma:contentTypeID="0x0101003CF82FB729EF4C4F89F17D269A5A7C62" ma:contentTypeVersion="2" ma:contentTypeDescription="Tạo tài liệu mới." ma:contentTypeScope="" ma:versionID="52e105b7c3703c0d3fafd57b8fd23b99">
  <xsd:schema xmlns:xsd="http://www.w3.org/2001/XMLSchema" xmlns:xs="http://www.w3.org/2001/XMLSchema" xmlns:p="http://schemas.microsoft.com/office/2006/metadata/properties" xmlns:ns2="710d9e5a-c4b2-4310-baa2-1f2a50da0db2" targetNamespace="http://schemas.microsoft.com/office/2006/metadata/properties" ma:root="true" ma:fieldsID="26806c4daa7866f2de4acf95f7187e6f" ns2:_="">
    <xsd:import namespace="710d9e5a-c4b2-4310-baa2-1f2a50da0d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0d9e5a-c4b2-4310-baa2-1f2a50da0d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Loại Nội dung"/>
        <xsd:element ref="dc:title" minOccurs="0" maxOccurs="1" ma:index="4" ma:displayName="Tiêu đề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A1D3F8B-FD89-4344-86AF-E70F920EBEC4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0917377-453D-49BF-93D5-75EBF736678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69FDF5A-9093-4163-8414-9DF54F0A05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0d9e5a-c4b2-4310-baa2-1f2a50da0d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04</TotalTime>
  <Words>853</Words>
  <Application>Microsoft Office PowerPoint</Application>
  <PresentationFormat>On-screen Show (16:9)</PresentationFormat>
  <Paragraphs>71</Paragraphs>
  <Slides>30</Slides>
  <Notes>19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0</vt:i4>
      </vt:variant>
    </vt:vector>
  </HeadingPairs>
  <TitlesOfParts>
    <vt:vector size="39" baseType="lpstr">
      <vt:lpstr>Wingdings</vt:lpstr>
      <vt:lpstr>Arial</vt:lpstr>
      <vt:lpstr>Times New Roman</vt:lpstr>
      <vt:lpstr>Calibri</vt:lpstr>
      <vt:lpstr>Calibri Light</vt:lpstr>
      <vt:lpstr>Roboto Slab Light</vt:lpstr>
      <vt:lpstr>Lato Light</vt:lpstr>
      <vt:lpstr>Kent template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ody</dc:title>
  <dc:creator>Son Ho Cong</dc:creator>
  <cp:lastModifiedBy>Huỳnh Đắc Nhật Tân</cp:lastModifiedBy>
  <cp:revision>178</cp:revision>
  <dcterms:modified xsi:type="dcterms:W3CDTF">2022-01-01T14:43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F82FB729EF4C4F89F17D269A5A7C62</vt:lpwstr>
  </property>
</Properties>
</file>